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bin" ContentType="application/vnd.openxmlformats-officedocument.oleObject"/>
  <Default Extension="png" ContentType="image/png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slideMasters/slideMaster2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slides/slide2.xml" ContentType="application/vnd.openxmlformats-officedocument.presentationml.slide+xml"/>
  <Override PartName="/ppt/diagrams/layout1.xml" ContentType="application/vnd.openxmlformats-officedocument.drawingml.diagramLayout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2.xml" ContentType="application/vnd.openxmlformats-officedocument.drawingml.diagramLayout+xml"/>
  <Override PartName="/ppt/diagrams/data2.xml" ContentType="application/vnd.openxmlformats-officedocument.drawingml.diagramData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.xml" ContentType="application/vnd.openxmlformats-officedocument.presentationml.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diagrams/layout3.xml" ContentType="application/vnd.openxmlformats-officedocument.drawingml.diagramLayout+xml"/>
  <Override PartName="/ppt/diagrams/data3.xml" ContentType="application/vnd.openxmlformats-officedocument.drawingml.diagramData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diagrams/layout4.xml" ContentType="application/vnd.openxmlformats-officedocument.drawingml.diagramLayout+xml"/>
  <Override PartName="/ppt/diagrams/data4.xml" ContentType="application/vnd.openxmlformats-officedocument.drawingml.diagramData+xml"/>
  <Override PartName="/ppt/diagrams/drawing4.xml" ContentType="application/vnd.ms-office.drawingml.diagramDrawing+xml"/>
  <Override PartName="/ppt/diagrams/colors4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app.xml" ContentType="application/vnd.openxmlformats-officedocument.extended-properties+xml"/>
  <Override PartName="/docProps/core.xml" ContentType="application/vnd.openxmlformats-package.core-properties+xml"/>
</Types>
</file>

<file path=_rels/.rels><?xml version="1.0" encoding="UTF-8" standalone="yes"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3" Type="http://schemas.openxmlformats.org/package/2006/relationships/metadata/core-properties" Target="docProps/core.xml"/></Relationships>
</file>

<file path=ppt/presentation.xml><?xml version="1.0" encoding="utf-8"?>
<p:presentation xmlns:p="http://schemas.openxmlformats.org/presentationml/2006/main" xmlns:r="http://schemas.openxmlformats.org/officeDocument/2006/relationships" xmlns:a="http://schemas.openxmlformats.org/drawingml/2006/main" autoCompressPictures="0" saveSubsetFonts="1" strictFirstAndLastChars="0">
  <p:sldMasterIdLst>
    <p:sldMasterId id="2147483672" r:id="rId1"/>
    <p:sldMasterId id="2147483673" r:id="rId2"/>
  </p:sldMasterIdLst>
  <p:notesMasterIdLst>
    <p:notesMasterId r:id="rId3"/>
  </p:notesMasterIdLst>
  <p:sldIdLst>
    <p:sldId id="268" r:id="rId4"/>
    <p:sldId id="269" r:id="rId5"/>
    <p:sldId id="270" r:id="rId6"/>
    <p:sldId id="271" r:id="rId7"/>
    <p:sldId id="272" r:id="rId8"/>
  </p:sldIdLst>
  <p:sldSz type="screen16x9" cy="6858000" cx="12192000"/>
  <p:notesSz cx="6858000" cy="9144000"/>
  <p:defaultTextStyle>
    <a:defPPr algn="l" lvl="0" marR="0" rtl="0">
      <a:lnSpc>
        <a:spcPct val="100000"/>
      </a:lnSpc>
      <a:spcBef>
        <a:spcPts val="0"/>
      </a:spcBef>
      <a:spcAft>
        <a:spcPts val="0"/>
      </a:spcAft>
    </a:defPPr>
    <a:lvl1pPr algn="l" lvl="0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1pPr>
    <a:lvl2pPr algn="l" lvl="1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2pPr>
    <a:lvl3pPr algn="l" lvl="2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3pPr>
    <a:lvl4pPr algn="l" lvl="3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4pPr>
    <a:lvl5pPr algn="l" lvl="4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5pPr>
    <a:lvl6pPr algn="l" lvl="5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6pPr>
    <a:lvl7pPr algn="l" lvl="6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7pPr>
    <a:lvl8pPr algn="l" lvl="7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8pPr>
    <a:lvl9pPr algn="l" lvl="8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p="http://schemas.openxmlformats.org/presentationml/2006/main" xmlns:r="http://schemas.openxmlformats.org/officeDocument/2006/relationships" xmlns:a="http://schemas.openxmlformats.org/drawingml/2006/main">
  <p:showPr>
    <p:present/>
    <p:sldAll/>
    <p:penClr>
      <a:prstClr val="red"/>
    </p:penClr>
  </p:showPr>
  <p:clrMru>
    <a:srgbClr val="33A1D8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p="http://schemas.openxmlformats.org/presentationml/2006/main" xmlns:r="http://schemas.openxmlformats.org/officeDocument/2006/relationships" xmlns:a="http://schemas.openxmlformats.org/drawingml/2006/main" lastView="sldThumbnailView">
  <p:normalViewPr>
    <p:restoredLeft sz="15610"/>
    <p:restoredTop sz="94344" autoAdjust="0"/>
  </p:normalViewPr>
  <p:slideViewPr>
    <p:cSldViewPr snapToGrid="0">
      <p:cViewPr varScale="1">
        <p:scale>
          <a:sx n="104" d="100"/>
          <a:sy n="104" d="100"/>
        </p:scale>
        <p:origin x="75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tableStyles" Target="tableStyles.xml"/><Relationship Id="rId10" Type="http://schemas.openxmlformats.org/officeDocument/2006/relationships/presProps" Target="presProps.xml"/><Relationship Id="rId11" Type="http://schemas.openxmlformats.org/officeDocument/2006/relationships/viewProps" Target="viewProps.xml"/><Relationship Id="rId1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5FD56E-BCD1-4AD5-9D8C-8F2502F57788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EE40E394-E132-44BD-A71A-ED67D2750FC5}">
      <dgm:prSet phldrT="[Текст]"/>
      <dgm:spPr/>
      <dgm:t>
        <a:bodyPr/>
        <a:lstStyle/>
        <a:p>
          <a:r>
            <a:rPr lang="ru-RU" b="1" cap="all" baseline="0" dirty="0">
              <a:solidFill>
                <a:schemeClr val="accent2">
                  <a:lumMod val="75000"/>
                </a:schemeClr>
              </a:solidFill>
            </a:rPr>
            <a:t>Целевая группа</a:t>
          </a:r>
        </a:p>
      </dgm:t>
    </dgm:pt>
    <dgm:pt modelId="{61EBD563-B268-40DE-853F-5397A7354DC0}" type="parTrans" cxnId="{A13C8546-0805-413D-A8CB-0818654222AC}">
      <dgm:prSet/>
      <dgm:spPr/>
      <dgm:t>
        <a:bodyPr/>
        <a:lstStyle/>
        <a:p>
          <a:endParaRPr lang="ru-RU"/>
        </a:p>
      </dgm:t>
    </dgm:pt>
    <dgm:pt modelId="{45CB2ACF-B5D4-4631-954A-414E437B9A7C}" type="sibTrans" cxnId="{A13C8546-0805-413D-A8CB-0818654222AC}">
      <dgm:prSet/>
      <dgm:spPr/>
      <dgm:t>
        <a:bodyPr/>
        <a:lstStyle/>
        <a:p>
          <a:endParaRPr lang="ru-RU"/>
        </a:p>
      </dgm:t>
    </dgm:pt>
    <dgm:pt modelId="{B4CB8F1C-89C9-4ACE-9D4A-585FB6068FA5}">
      <dgm:prSet phldrT="[Текст]"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а с инвалидностью, ОВЗ</a:t>
          </a:r>
          <a:endParaRPr lang="ru-RU" dirty="0">
            <a:solidFill>
              <a:schemeClr val="accent1">
                <a:lumMod val="50000"/>
              </a:schemeClr>
            </a:solidFill>
          </a:endParaRPr>
        </a:p>
      </dgm:t>
    </dgm:pt>
    <dgm:pt modelId="{A02A0D99-328F-4DED-8ED4-6D61C845F4EF}" type="parTrans" cxnId="{4F22D527-3FA7-43EB-9F19-49DB56E3555A}">
      <dgm:prSet/>
      <dgm:spPr/>
      <dgm:t>
        <a:bodyPr/>
        <a:lstStyle/>
        <a:p>
          <a:endParaRPr lang="ru-RU"/>
        </a:p>
      </dgm:t>
    </dgm:pt>
    <dgm:pt modelId="{50486FDF-D8DF-4797-B385-C84FFDC963A9}" type="sibTrans" cxnId="{4F22D527-3FA7-43EB-9F19-49DB56E3555A}">
      <dgm:prSet/>
      <dgm:spPr/>
      <dgm:t>
        <a:bodyPr/>
        <a:lstStyle/>
        <a:p>
          <a:endParaRPr lang="ru-RU"/>
        </a:p>
      </dgm:t>
    </dgm:pt>
    <dgm:pt modelId="{7625F211-0E85-4E06-A672-8306B32ED576}">
      <dgm:prSet phldrT="[Текст]"/>
      <dgm:spPr/>
      <dgm:t>
        <a:bodyPr/>
        <a:lstStyle/>
        <a:p>
          <a:r>
            <a:rPr lang="ru-RU" b="1" cap="all" baseline="0" dirty="0">
              <a:solidFill>
                <a:schemeClr val="accent2">
                  <a:lumMod val="75000"/>
                </a:schemeClr>
              </a:solidFill>
            </a:rPr>
            <a:t>Проблема</a:t>
          </a:r>
          <a:r>
            <a:rPr lang="ru-RU" dirty="0"/>
            <a:t/>
          </a:r>
        </a:p>
      </dgm:t>
    </dgm:pt>
    <dgm:pt modelId="{56FA1C61-6BE6-475E-8310-43F57C4BA89B}" type="parTrans" cxnId="{4F3347B1-0F5B-4D6E-A8D9-46426AA5AD12}">
      <dgm:prSet/>
      <dgm:spPr/>
      <dgm:t>
        <a:bodyPr/>
        <a:lstStyle/>
        <a:p>
          <a:endParaRPr lang="ru-RU"/>
        </a:p>
      </dgm:t>
    </dgm:pt>
    <dgm:pt modelId="{911BDF7F-5287-49B8-8D5B-B39CDB38705C}" type="sibTrans" cxnId="{4F3347B1-0F5B-4D6E-A8D9-46426AA5AD12}">
      <dgm:prSet/>
      <dgm:spPr/>
      <dgm:t>
        <a:bodyPr/>
        <a:lstStyle/>
        <a:p>
          <a:endParaRPr lang="ru-RU"/>
        </a:p>
      </dgm:t>
    </dgm:pt>
    <dgm:pt modelId="{1DCAA387-56B2-4288-9F44-97CE538629A4}">
      <dgm:prSet phldrT="[Текст]"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Низкий охват адаптивной физкультурой и спортом лиц с инвалидностью, ОВЗ</a:t>
          </a:r>
          <a:endParaRPr lang="ru-RU" b="1" dirty="0">
            <a:solidFill>
              <a:schemeClr val="accent1">
                <a:lumMod val="50000"/>
              </a:schemeClr>
            </a:solidFill>
          </a:endParaRPr>
        </a:p>
      </dgm:t>
    </dgm:pt>
    <dgm:pt modelId="{64171252-9E36-4FCA-B29C-811A4CFC631C}" type="parTrans" cxnId="{2F2A732F-B876-4752-A0EB-74CB5B3CF3CC}">
      <dgm:prSet/>
      <dgm:spPr/>
      <dgm:t>
        <a:bodyPr/>
        <a:lstStyle/>
        <a:p>
          <a:endParaRPr lang="ru-RU"/>
        </a:p>
      </dgm:t>
    </dgm:pt>
    <dgm:pt modelId="{28A964AF-E3DE-49A7-9F5E-6E6F77EAF22B}" type="sibTrans" cxnId="{2F2A732F-B876-4752-A0EB-74CB5B3CF3CC}">
      <dgm:prSet/>
      <dgm:spPr/>
      <dgm:t>
        <a:bodyPr/>
        <a:lstStyle/>
        <a:p>
          <a:endParaRPr lang="ru-RU"/>
        </a:p>
      </dgm:t>
    </dgm:pt>
    <dgm:pt modelId="{86E39CE8-2935-4716-9C38-495DCDF71B8A}">
      <dgm:prSet phldrT="[Текст]"/>
      <dgm:spPr/>
      <dgm:t>
        <a:bodyPr/>
        <a:lstStyle/>
        <a:p>
          <a:r>
            <a:rPr lang="ru-RU" b="1" cap="all" baseline="0" dirty="0">
              <a:solidFill>
                <a:schemeClr val="accent2">
                  <a:lumMod val="75000"/>
                </a:schemeClr>
              </a:solidFill>
            </a:rPr>
            <a:t>Риски</a:t>
          </a:r>
        </a:p>
      </dgm:t>
    </dgm:pt>
    <dgm:pt modelId="{9F6F2147-159A-4A82-A317-90DF5DFEA4C9}" type="parTrans" cxnId="{3B5965D4-4414-4341-A111-F53461BBF3F2}">
      <dgm:prSet/>
      <dgm:spPr/>
      <dgm:t>
        <a:bodyPr/>
        <a:lstStyle/>
        <a:p>
          <a:endParaRPr lang="ru-RU"/>
        </a:p>
      </dgm:t>
    </dgm:pt>
    <dgm:pt modelId="{319181DE-917C-4937-B3BD-AC34998919E7}" type="sibTrans" cxnId="{3B5965D4-4414-4341-A111-F53461BBF3F2}">
      <dgm:prSet/>
      <dgm:spPr/>
      <dgm:t>
        <a:bodyPr/>
        <a:lstStyle/>
        <a:p>
          <a:endParaRPr lang="ru-RU"/>
        </a:p>
      </dgm:t>
    </dgm:pt>
    <dgm:pt modelId="{D086885B-D747-45D7-A849-D0BC03F0BF95}">
      <dgm:prSet phldrT="[Текст]"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Риск ослабления здоровья лиц с инвалидностью, ОВЗ</a:t>
          </a:r>
          <a:endParaRPr lang="ru-RU" dirty="0">
            <a:solidFill>
              <a:schemeClr val="accent1">
                <a:lumMod val="50000"/>
              </a:schemeClr>
            </a:solidFill>
          </a:endParaRPr>
        </a:p>
      </dgm:t>
    </dgm:pt>
    <dgm:pt modelId="{3DB9967A-B0C0-430E-90BA-11148B1B4301}" type="parTrans" cxnId="{95EA2CFB-FE89-482C-A09A-6D67F4E3988D}">
      <dgm:prSet/>
      <dgm:spPr/>
      <dgm:t>
        <a:bodyPr/>
        <a:lstStyle/>
        <a:p>
          <a:endParaRPr lang="ru-RU"/>
        </a:p>
      </dgm:t>
    </dgm:pt>
    <dgm:pt modelId="{0CC6F42A-A6EB-4C70-B92F-2007A7131B12}" type="sibTrans" cxnId="{95EA2CFB-FE89-482C-A09A-6D67F4E3988D}">
      <dgm:prSet/>
      <dgm:spPr/>
      <dgm:t>
        <a:bodyPr/>
        <a:lstStyle/>
        <a:p>
          <a:endParaRPr lang="ru-RU"/>
        </a:p>
      </dgm:t>
    </dgm:pt>
    <dgm:pt modelId="{CAB525CD-65F5-4917-ABC7-37C7132EFC88}">
      <dgm:prSet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В крае 90 тыс. человек с инвалидностью, ОВЗ</a:t>
          </a:r>
        </a:p>
      </dgm:t>
    </dgm:pt>
    <dgm:pt modelId="{3EE753D7-9DF1-4EAC-8DAC-9185025683B6}" type="parTrans" cxnId="{51E8C18A-CC79-4349-85A7-F5C29CC8BA27}">
      <dgm:prSet/>
      <dgm:spPr/>
      <dgm:t>
        <a:bodyPr/>
        <a:lstStyle/>
        <a:p>
          <a:endParaRPr lang="ru-RU"/>
        </a:p>
      </dgm:t>
    </dgm:pt>
    <dgm:pt modelId="{23E8AC10-5CB7-4DB4-ACC5-BC876B3946A5}" type="sibTrans" cxnId="{51E8C18A-CC79-4349-85A7-F5C29CC8BA27}">
      <dgm:prSet/>
      <dgm:spPr/>
      <dgm:t>
        <a:bodyPr/>
        <a:lstStyle/>
        <a:p>
          <a:endParaRPr lang="ru-RU"/>
        </a:p>
      </dgm:t>
    </dgm:pt>
    <dgm:pt modelId="{5C764336-251C-45B1-A8C8-75428DA90A3C}">
      <dgm:prSet/>
      <dgm:spPr/>
      <dgm:t>
        <a:bodyPr/>
        <a:lstStyle/>
        <a:p>
          <a:pPr algn="just">
            <a:buNone/>
          </a:pPr>
          <a:r>
            <a:rPr lang="ru-RU" dirty="0">
              <a:solidFill>
                <a:schemeClr val="accent1">
                  <a:lumMod val="50000"/>
                </a:schemeClr>
              </a:solidFill>
              <a:latin typeface="Gilroy Light"/>
            </a:rPr>
            <a:t>(3,2 % из них вовлечены в занятия АФК)</a:t>
          </a:r>
        </a:p>
      </dgm:t>
    </dgm:pt>
    <dgm:pt modelId="{3599CB29-2593-4F44-9CF6-A35B809C0F65}" type="parTrans" cxnId="{E2BDC16B-1684-47D8-ABF0-908235196FC5}">
      <dgm:prSet/>
      <dgm:spPr/>
      <dgm:t>
        <a:bodyPr/>
        <a:lstStyle/>
        <a:p>
          <a:endParaRPr lang="ru-RU"/>
        </a:p>
      </dgm:t>
    </dgm:pt>
    <dgm:pt modelId="{7ED4FD8D-3A09-4608-9CA2-3F8BD4BBF815}" type="sibTrans" cxnId="{E2BDC16B-1684-47D8-ABF0-908235196FC5}">
      <dgm:prSet/>
      <dgm:spPr/>
      <dgm:t>
        <a:bodyPr/>
        <a:lstStyle/>
        <a:p>
          <a:endParaRPr lang="ru-RU"/>
        </a:p>
      </dgm:t>
    </dgm:pt>
    <dgm:pt modelId="{9251A7C0-3EF3-40A7-A6E2-A55112833F27}">
      <dgm:prSet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Риск социальной изоляции лиц с инвалидностью, ОВЗ</a:t>
          </a:r>
        </a:p>
      </dgm:t>
    </dgm:pt>
    <dgm:pt modelId="{3BB5C241-3F5E-42AF-A99B-395678B9AA01}" type="parTrans" cxnId="{A034C669-C9E7-41FF-ABBE-620C2FA081C8}">
      <dgm:prSet/>
      <dgm:spPr/>
      <dgm:t>
        <a:bodyPr/>
        <a:lstStyle/>
        <a:p>
          <a:endParaRPr lang="ru-RU"/>
        </a:p>
      </dgm:t>
    </dgm:pt>
    <dgm:pt modelId="{C3ECD0DD-534B-490B-A055-2A5081F7A8F6}" type="sibTrans" cxnId="{A034C669-C9E7-41FF-ABBE-620C2FA081C8}">
      <dgm:prSet/>
      <dgm:spPr/>
      <dgm:t>
        <a:bodyPr/>
        <a:lstStyle/>
        <a:p>
          <a:endParaRPr lang="ru-RU"/>
        </a:p>
      </dgm:t>
    </dgm:pt>
    <dgm:pt modelId="{0490DB6A-1978-4C00-956C-0FB9289E5C35}">
      <dgm:prSet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а с инвалидностью, ОВЗ не информированы о возможностях адаптивных спортивных игр</a:t>
          </a:r>
        </a:p>
      </dgm:t>
    </dgm:pt>
    <dgm:pt modelId="{8F0A2D28-9F58-410B-AC01-1FFBBC666E2B}" type="parTrans" cxnId="{DC58CA4A-9297-4E80-844D-A67608A6A5F0}">
      <dgm:prSet/>
      <dgm:spPr/>
      <dgm:t>
        <a:bodyPr/>
        <a:lstStyle/>
        <a:p>
          <a:endParaRPr lang="ru-RU"/>
        </a:p>
      </dgm:t>
    </dgm:pt>
    <dgm:pt modelId="{0CD3528B-2D08-47B6-ABFF-C3D11B702818}" type="sibTrans" cxnId="{DC58CA4A-9297-4E80-844D-A67608A6A5F0}">
      <dgm:prSet/>
      <dgm:spPr/>
      <dgm:t>
        <a:bodyPr/>
        <a:lstStyle/>
        <a:p>
          <a:endParaRPr lang="ru-RU"/>
        </a:p>
      </dgm:t>
    </dgm:pt>
    <dgm:pt modelId="{86396F56-65A8-4C39-958E-474DF6F085F5}">
      <dgm:prSet/>
      <dgm:spPr/>
      <dgm:t>
        <a:bodyPr/>
        <a:lstStyle/>
        <a:p>
          <a:pPr algn="just"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В регионе отсутствуют условия для занятий адаптивными спортивными играми</a:t>
          </a:r>
        </a:p>
      </dgm:t>
    </dgm:pt>
    <dgm:pt modelId="{C33B6931-6C24-49A6-8E78-10B90BB0CD0F}" type="parTrans" cxnId="{0030CF12-D299-4884-93FA-568B8D41AD5F}">
      <dgm:prSet/>
      <dgm:spPr/>
      <dgm:t>
        <a:bodyPr/>
        <a:lstStyle/>
        <a:p>
          <a:endParaRPr lang="ru-RU"/>
        </a:p>
      </dgm:t>
    </dgm:pt>
    <dgm:pt modelId="{B819DE0A-17E9-4956-AC43-A71D86AE355E}" type="sibTrans" cxnId="{0030CF12-D299-4884-93FA-568B8D41AD5F}">
      <dgm:prSet/>
      <dgm:spPr/>
      <dgm:t>
        <a:bodyPr/>
        <a:lstStyle/>
        <a:p>
          <a:endParaRPr lang="ru-RU"/>
        </a:p>
      </dgm:t>
    </dgm:pt>
    <dgm:pt modelId="{D33F0B40-3374-4EE4-B272-77C01E438769}" type="pres">
      <dgm:prSet presAssocID="{925FD56E-BCD1-4AD5-9D8C-8F2502F57788}" presName="linear" presStyleCnt="0">
        <dgm:presLayoutVars>
          <dgm:animLvl val="lvl"/>
          <dgm:resizeHandles val="exact"/>
        </dgm:presLayoutVars>
      </dgm:prSet>
      <dgm:spPr/>
    </dgm:pt>
    <dgm:pt modelId="{A69A608F-B5CA-4702-BEB4-9A3F7155CB1E}" type="pres">
      <dgm:prSet presAssocID="{EE40E394-E132-44BD-A71A-ED67D2750FC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1B8B6EB1-B0B9-45E1-836A-FE7AAB956573}" type="pres">
      <dgm:prSet presAssocID="{EE40E394-E132-44BD-A71A-ED67D2750FC5}" presName="childText" presStyleLbl="revTx" presStyleIdx="0" presStyleCnt="3">
        <dgm:presLayoutVars>
          <dgm:bulletEnabled val="1"/>
        </dgm:presLayoutVars>
      </dgm:prSet>
      <dgm:spPr/>
    </dgm:pt>
    <dgm:pt modelId="{CBB430AF-EE63-43AB-BCE2-AA484B7B6488}" type="pres">
      <dgm:prSet presAssocID="{7625F211-0E85-4E06-A672-8306B32ED576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EB31B76-3FB2-4DB8-B97B-F17D6D06E022}" type="pres">
      <dgm:prSet presAssocID="{7625F211-0E85-4E06-A672-8306B32ED576}" presName="childText" presStyleLbl="revTx" presStyleIdx="1" presStyleCnt="3">
        <dgm:presLayoutVars>
          <dgm:bulletEnabled val="1"/>
        </dgm:presLayoutVars>
      </dgm:prSet>
      <dgm:spPr/>
    </dgm:pt>
    <dgm:pt modelId="{CBBDF8D6-08CC-4DC0-9786-D0E7F3526719}" type="pres">
      <dgm:prSet presAssocID="{86E39CE8-2935-4716-9C38-495DCDF71B8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5629DA8-7A62-4FE7-A29F-FBD30087ECC6}" type="pres">
      <dgm:prSet presAssocID="{86E39CE8-2935-4716-9C38-495DCDF71B8A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FBC06009-8B29-4ECA-BC78-F34E494D27B9}" type="presOf" srcId="{86396F56-65A8-4C39-958E-474DF6F085F5}" destId="{5EB31B76-3FB2-4DB8-B97B-F17D6D06E022}" srcOrd="0" destOrd="2" presId="urn:microsoft.com/office/officeart/2005/8/layout/vList2"/>
    <dgm:cxn modelId="{E864C50F-5A24-4D1D-AFDC-245FCB8DD368}" type="presOf" srcId="{5C764336-251C-45B1-A8C8-75428DA90A3C}" destId="{1B8B6EB1-B0B9-45E1-836A-FE7AAB956573}" srcOrd="0" destOrd="2" presId="urn:microsoft.com/office/officeart/2005/8/layout/vList2"/>
    <dgm:cxn modelId="{0030CF12-D299-4884-93FA-568B8D41AD5F}" srcId="{7625F211-0E85-4E06-A672-8306B32ED576}" destId="{86396F56-65A8-4C39-958E-474DF6F085F5}" srcOrd="2" destOrd="0" parTransId="{C33B6931-6C24-49A6-8E78-10B90BB0CD0F}" sibTransId="{B819DE0A-17E9-4956-AC43-A71D86AE355E}"/>
    <dgm:cxn modelId="{0AEAE915-AA8D-4A0A-8F1F-06680E195F11}" type="presOf" srcId="{0490DB6A-1978-4C00-956C-0FB9289E5C35}" destId="{5EB31B76-3FB2-4DB8-B97B-F17D6D06E022}" srcOrd="0" destOrd="1" presId="urn:microsoft.com/office/officeart/2005/8/layout/vList2"/>
    <dgm:cxn modelId="{4F22D527-3FA7-43EB-9F19-49DB56E3555A}" srcId="{EE40E394-E132-44BD-A71A-ED67D2750FC5}" destId="{B4CB8F1C-89C9-4ACE-9D4A-585FB6068FA5}" srcOrd="0" destOrd="0" parTransId="{A02A0D99-328F-4DED-8ED4-6D61C845F4EF}" sibTransId="{50486FDF-D8DF-4797-B385-C84FFDC963A9}"/>
    <dgm:cxn modelId="{844CF82A-1D7C-4A84-AD64-236FB7E1562E}" type="presOf" srcId="{9251A7C0-3EF3-40A7-A6E2-A55112833F27}" destId="{F5629DA8-7A62-4FE7-A29F-FBD30087ECC6}" srcOrd="0" destOrd="1" presId="urn:microsoft.com/office/officeart/2005/8/layout/vList2"/>
    <dgm:cxn modelId="{2F2A732F-B876-4752-A0EB-74CB5B3CF3CC}" srcId="{7625F211-0E85-4E06-A672-8306B32ED576}" destId="{1DCAA387-56B2-4288-9F44-97CE538629A4}" srcOrd="0" destOrd="0" parTransId="{64171252-9E36-4FCA-B29C-811A4CFC631C}" sibTransId="{28A964AF-E3DE-49A7-9F5E-6E6F77EAF22B}"/>
    <dgm:cxn modelId="{441BD034-E481-41F1-A709-770C71B2128F}" type="presOf" srcId="{86E39CE8-2935-4716-9C38-495DCDF71B8A}" destId="{CBBDF8D6-08CC-4DC0-9786-D0E7F3526719}" srcOrd="0" destOrd="0" presId="urn:microsoft.com/office/officeart/2005/8/layout/vList2"/>
    <dgm:cxn modelId="{A13C8546-0805-413D-A8CB-0818654222AC}" srcId="{925FD56E-BCD1-4AD5-9D8C-8F2502F57788}" destId="{EE40E394-E132-44BD-A71A-ED67D2750FC5}" srcOrd="0" destOrd="0" parTransId="{61EBD563-B268-40DE-853F-5397A7354DC0}" sibTransId="{45CB2ACF-B5D4-4631-954A-414E437B9A7C}"/>
    <dgm:cxn modelId="{A034C669-C9E7-41FF-ABBE-620C2FA081C8}" srcId="{86E39CE8-2935-4716-9C38-495DCDF71B8A}" destId="{9251A7C0-3EF3-40A7-A6E2-A55112833F27}" srcOrd="1" destOrd="0" parTransId="{3BB5C241-3F5E-42AF-A99B-395678B9AA01}" sibTransId="{C3ECD0DD-534B-490B-A055-2A5081F7A8F6}"/>
    <dgm:cxn modelId="{DC58CA4A-9297-4E80-844D-A67608A6A5F0}" srcId="{7625F211-0E85-4E06-A672-8306B32ED576}" destId="{0490DB6A-1978-4C00-956C-0FB9289E5C35}" srcOrd="1" destOrd="0" parTransId="{8F0A2D28-9F58-410B-AC01-1FFBBC666E2B}" sibTransId="{0CD3528B-2D08-47B6-ABFF-C3D11B702818}"/>
    <dgm:cxn modelId="{E2BDC16B-1684-47D8-ABF0-908235196FC5}" srcId="{EE40E394-E132-44BD-A71A-ED67D2750FC5}" destId="{5C764336-251C-45B1-A8C8-75428DA90A3C}" srcOrd="2" destOrd="0" parTransId="{3599CB29-2593-4F44-9CF6-A35B809C0F65}" sibTransId="{7ED4FD8D-3A09-4608-9CA2-3F8BD4BBF815}"/>
    <dgm:cxn modelId="{4203934C-10B0-4DDF-AC09-2D278DC82406}" type="presOf" srcId="{D086885B-D747-45D7-A849-D0BC03F0BF95}" destId="{F5629DA8-7A62-4FE7-A29F-FBD30087ECC6}" srcOrd="0" destOrd="0" presId="urn:microsoft.com/office/officeart/2005/8/layout/vList2"/>
    <dgm:cxn modelId="{4C2CB175-B161-4F53-BCC4-BB0F0666B007}" type="presOf" srcId="{CAB525CD-65F5-4917-ABC7-37C7132EFC88}" destId="{1B8B6EB1-B0B9-45E1-836A-FE7AAB956573}" srcOrd="0" destOrd="1" presId="urn:microsoft.com/office/officeart/2005/8/layout/vList2"/>
    <dgm:cxn modelId="{DA569C7A-6FF1-4B5A-AF9A-045E112EC9FA}" type="presOf" srcId="{1DCAA387-56B2-4288-9F44-97CE538629A4}" destId="{5EB31B76-3FB2-4DB8-B97B-F17D6D06E022}" srcOrd="0" destOrd="0" presId="urn:microsoft.com/office/officeart/2005/8/layout/vList2"/>
    <dgm:cxn modelId="{B54A367E-3081-4999-9495-1F1BD88233FE}" type="presOf" srcId="{EE40E394-E132-44BD-A71A-ED67D2750FC5}" destId="{A69A608F-B5CA-4702-BEB4-9A3F7155CB1E}" srcOrd="0" destOrd="0" presId="urn:microsoft.com/office/officeart/2005/8/layout/vList2"/>
    <dgm:cxn modelId="{51E8C18A-CC79-4349-85A7-F5C29CC8BA27}" srcId="{EE40E394-E132-44BD-A71A-ED67D2750FC5}" destId="{CAB525CD-65F5-4917-ABC7-37C7132EFC88}" srcOrd="1" destOrd="0" parTransId="{3EE753D7-9DF1-4EAC-8DAC-9185025683B6}" sibTransId="{23E8AC10-5CB7-4DB4-ACC5-BC876B3946A5}"/>
    <dgm:cxn modelId="{AE9AE4A9-42EF-4680-9346-7AA93108A55C}" type="presOf" srcId="{7625F211-0E85-4E06-A672-8306B32ED576}" destId="{CBB430AF-EE63-43AB-BCE2-AA484B7B6488}" srcOrd="0" destOrd="0" presId="urn:microsoft.com/office/officeart/2005/8/layout/vList2"/>
    <dgm:cxn modelId="{4F3347B1-0F5B-4D6E-A8D9-46426AA5AD12}" srcId="{925FD56E-BCD1-4AD5-9D8C-8F2502F57788}" destId="{7625F211-0E85-4E06-A672-8306B32ED576}" srcOrd="1" destOrd="0" parTransId="{56FA1C61-6BE6-475E-8310-43F57C4BA89B}" sibTransId="{911BDF7F-5287-49B8-8D5B-B39CDB38705C}"/>
    <dgm:cxn modelId="{3B5965D4-4414-4341-A111-F53461BBF3F2}" srcId="{925FD56E-BCD1-4AD5-9D8C-8F2502F57788}" destId="{86E39CE8-2935-4716-9C38-495DCDF71B8A}" srcOrd="2" destOrd="0" parTransId="{9F6F2147-159A-4A82-A317-90DF5DFEA4C9}" sibTransId="{319181DE-917C-4937-B3BD-AC34998919E7}"/>
    <dgm:cxn modelId="{B72E45E8-0F50-4BB4-AE08-F03BF0DDD2A3}" type="presOf" srcId="{925FD56E-BCD1-4AD5-9D8C-8F2502F57788}" destId="{D33F0B40-3374-4EE4-B272-77C01E438769}" srcOrd="0" destOrd="0" presId="urn:microsoft.com/office/officeart/2005/8/layout/vList2"/>
    <dgm:cxn modelId="{95EA2CFB-FE89-482C-A09A-6D67F4E3988D}" srcId="{86E39CE8-2935-4716-9C38-495DCDF71B8A}" destId="{D086885B-D747-45D7-A849-D0BC03F0BF95}" srcOrd="0" destOrd="0" parTransId="{3DB9967A-B0C0-430E-90BA-11148B1B4301}" sibTransId="{0CC6F42A-A6EB-4C70-B92F-2007A7131B12}"/>
    <dgm:cxn modelId="{443C40FB-7542-406C-A998-E14F32E89C33}" type="presOf" srcId="{B4CB8F1C-89C9-4ACE-9D4A-585FB6068FA5}" destId="{1B8B6EB1-B0B9-45E1-836A-FE7AAB956573}" srcOrd="0" destOrd="0" presId="urn:microsoft.com/office/officeart/2005/8/layout/vList2"/>
    <dgm:cxn modelId="{A3E92176-1863-49EB-A468-9BB851190FDA}" type="presParOf" srcId="{D33F0B40-3374-4EE4-B272-77C01E438769}" destId="{A69A608F-B5CA-4702-BEB4-9A3F7155CB1E}" srcOrd="0" destOrd="0" presId="urn:microsoft.com/office/officeart/2005/8/layout/vList2"/>
    <dgm:cxn modelId="{CE27F266-A6EC-425E-B0EC-9E576A3FA84E}" type="presParOf" srcId="{D33F0B40-3374-4EE4-B272-77C01E438769}" destId="{1B8B6EB1-B0B9-45E1-836A-FE7AAB956573}" srcOrd="1" destOrd="0" presId="urn:microsoft.com/office/officeart/2005/8/layout/vList2"/>
    <dgm:cxn modelId="{29958768-DC4C-4627-A89F-5A3163F6BD03}" type="presParOf" srcId="{D33F0B40-3374-4EE4-B272-77C01E438769}" destId="{CBB430AF-EE63-43AB-BCE2-AA484B7B6488}" srcOrd="2" destOrd="0" presId="urn:microsoft.com/office/officeart/2005/8/layout/vList2"/>
    <dgm:cxn modelId="{0BC97FF1-631C-4BAB-88D0-A8E933C02173}" type="presParOf" srcId="{D33F0B40-3374-4EE4-B272-77C01E438769}" destId="{5EB31B76-3FB2-4DB8-B97B-F17D6D06E022}" srcOrd="3" destOrd="0" presId="urn:microsoft.com/office/officeart/2005/8/layout/vList2"/>
    <dgm:cxn modelId="{D8FEE676-B136-47E8-8ACD-0B81CD461BF6}" type="presParOf" srcId="{D33F0B40-3374-4EE4-B272-77C01E438769}" destId="{CBBDF8D6-08CC-4DC0-9786-D0E7F3526719}" srcOrd="4" destOrd="0" presId="urn:microsoft.com/office/officeart/2005/8/layout/vList2"/>
    <dgm:cxn modelId="{13757A1D-19DD-4438-9F04-0CB599CC1E4D}" type="presParOf" srcId="{D33F0B40-3374-4EE4-B272-77C01E438769}" destId="{F5629DA8-7A62-4FE7-A29F-FBD30087ECC6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5FD56E-BCD1-4AD5-9D8C-8F2502F57788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0175FC7-A2C4-455F-A975-0878A8BF7D83}">
      <dgm:prSet phldrT="[Текст]"/>
      <dgm:spPr/>
      <dgm:t>
        <a:bodyPr/>
        <a:lstStyle/>
        <a:p>
          <a:pPr algn="just"/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Повышение качества жизни</a:t>
          </a:r>
          <a:r>
            <a:rPr lang="ru-RU" dirty="0">
              <a:solidFill>
                <a:schemeClr val="accent1">
                  <a:lumMod val="50000"/>
                </a:schemeClr>
              </a:solidFill>
              <a:latin typeface="Gilroy Light"/>
            </a:rPr>
            <a:t>не только целевой группы, но и членов их семей и общества</a:t>
          </a:r>
        </a:p>
      </dgm:t>
    </dgm:pt>
    <dgm:pt modelId="{0481E2B2-062B-4F07-A464-AF417D6F7BF9}" type="parTrans" cxnId="{348F1AB7-E66B-4E1E-B35E-BE60FFD93E92}">
      <dgm:prSet/>
      <dgm:spPr/>
      <dgm:t>
        <a:bodyPr/>
        <a:lstStyle/>
        <a:p>
          <a:endParaRPr lang="ru-RU"/>
        </a:p>
      </dgm:t>
    </dgm:pt>
    <dgm:pt modelId="{61D4655E-6C4D-4188-8AB0-733009804CFF}" type="sibTrans" cxnId="{348F1AB7-E66B-4E1E-B35E-BE60FFD93E92}">
      <dgm:prSet/>
      <dgm:spPr/>
      <dgm:t>
        <a:bodyPr/>
        <a:lstStyle/>
        <a:p>
          <a:endParaRPr lang="ru-RU"/>
        </a:p>
      </dgm:t>
    </dgm:pt>
    <dgm:pt modelId="{9568A62D-5F8C-4354-9836-37E5DEC042D1}">
      <dgm:prSet phldrT="[Текст]"/>
      <dgm:spPr/>
      <dgm:t>
        <a:bodyPr/>
        <a:lstStyle/>
        <a:p>
          <a:r>
            <a:rPr lang="ru-RU" b="1" cap="all" baseline="0" dirty="0">
              <a:solidFill>
                <a:schemeClr val="accent2">
                  <a:lumMod val="75000"/>
                </a:schemeClr>
              </a:solidFill>
            </a:rPr>
            <a:t>Необходимо</a:t>
          </a:r>
        </a:p>
      </dgm:t>
    </dgm:pt>
    <dgm:pt modelId="{06571887-4A32-437F-8547-704A153B8A2C}" type="parTrans" cxnId="{C6F9238E-42F9-4581-81B5-AB31C3B3F919}">
      <dgm:prSet/>
      <dgm:spPr/>
      <dgm:t>
        <a:bodyPr/>
        <a:lstStyle/>
        <a:p>
          <a:endParaRPr lang="ru-RU"/>
        </a:p>
      </dgm:t>
    </dgm:pt>
    <dgm:pt modelId="{9AF0BBD8-8B3D-4184-A6DF-4330BDE3E0FD}" type="sibTrans" cxnId="{C6F9238E-42F9-4581-81B5-AB31C3B3F919}">
      <dgm:prSet/>
      <dgm:spPr/>
      <dgm:t>
        <a:bodyPr/>
        <a:lstStyle/>
        <a:p>
          <a:endParaRPr lang="ru-RU"/>
        </a:p>
      </dgm:t>
    </dgm:pt>
    <dgm:pt modelId="{49E057FB-77A5-42A5-8087-7071795E54E4}">
      <dgm:prSet phldrT="[Текст]"/>
      <dgm:spPr/>
      <dgm:t>
        <a:bodyPr/>
        <a:lstStyle/>
        <a:p>
          <a:pPr algn="just">
            <a:buFont typeface="Arial" panose="020B0604020202020204" pitchFamily="34" charset="0"/>
            <a:buChar char="•"/>
          </a:pPr>
          <a:r>
            <a:rPr lang="ru-RU" dirty="0">
              <a:solidFill>
                <a:schemeClr val="accent1">
                  <a:lumMod val="50000"/>
                </a:schemeClr>
              </a:solidFill>
              <a:latin typeface="Gilroy Light"/>
            </a:rPr>
            <a:t>Создать</a:t>
          </a: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региональный ресурсный центр</a:t>
          </a:r>
          <a:r>
            <a:rPr lang="ru-RU" dirty="0">
              <a:solidFill>
                <a:schemeClr val="accent1">
                  <a:lumMod val="50000"/>
                </a:schemeClr>
              </a:solidFill>
              <a:latin typeface="Gilroy Light"/>
            </a:rPr>
            <a:t>адаптивных спортивных игр</a:t>
          </a:r>
          <a:endParaRPr lang="ru-RU" dirty="0">
            <a:solidFill>
              <a:schemeClr val="accent1">
                <a:lumMod val="50000"/>
              </a:schemeClr>
            </a:solidFill>
          </a:endParaRPr>
        </a:p>
      </dgm:t>
    </dgm:pt>
    <dgm:pt modelId="{C04F2F44-8DFC-4BA4-9242-78397F7FC9D8}" type="parTrans" cxnId="{064D97C2-A243-419A-A0A7-A6337362988D}">
      <dgm:prSet/>
      <dgm:spPr/>
      <dgm:t>
        <a:bodyPr/>
        <a:lstStyle/>
        <a:p>
          <a:endParaRPr lang="ru-RU"/>
        </a:p>
      </dgm:t>
    </dgm:pt>
    <dgm:pt modelId="{7568BA65-8D55-4D8C-81CA-C0FF8A79C200}" type="sibTrans" cxnId="{064D97C2-A243-419A-A0A7-A6337362988D}">
      <dgm:prSet/>
      <dgm:spPr/>
      <dgm:t>
        <a:bodyPr/>
        <a:lstStyle/>
        <a:p>
          <a:endParaRPr lang="ru-RU"/>
        </a:p>
      </dgm:t>
    </dgm:pt>
    <dgm:pt modelId="{B20C9231-729B-4F69-A5BB-EEEB67572A6E}">
      <dgm:prSet phldrT="[Текст]"/>
      <dgm:spPr/>
      <dgm:t>
        <a:bodyPr/>
        <a:lstStyle/>
        <a:p>
          <a:r>
            <a:rPr lang="ru-RU" b="1" cap="all" baseline="0" dirty="0">
              <a:solidFill>
                <a:schemeClr val="accent2">
                  <a:lumMod val="75000"/>
                </a:schemeClr>
              </a:solidFill>
            </a:rPr>
            <a:t>Эффекты</a:t>
          </a:r>
        </a:p>
      </dgm:t>
    </dgm:pt>
    <dgm:pt modelId="{243B9B88-28CC-41AC-9F46-DBE6D95D6641}" type="parTrans" cxnId="{BCD4FE73-BE24-4441-988F-1190B3A76ACA}">
      <dgm:prSet/>
      <dgm:spPr/>
      <dgm:t>
        <a:bodyPr/>
        <a:lstStyle/>
        <a:p>
          <a:endParaRPr lang="ru-RU"/>
        </a:p>
      </dgm:t>
    </dgm:pt>
    <dgm:pt modelId="{F8EA0F58-AA2B-4C84-B9E9-37BEE8BB3228}" type="sibTrans" cxnId="{BCD4FE73-BE24-4441-988F-1190B3A76ACA}">
      <dgm:prSet/>
      <dgm:spPr/>
      <dgm:t>
        <a:bodyPr/>
        <a:lstStyle/>
        <a:p>
          <a:endParaRPr lang="ru-RU"/>
        </a:p>
      </dgm:t>
    </dgm:pt>
    <dgm:pt modelId="{F20E8ECB-744F-49C1-928A-819F24ABC913}">
      <dgm:prSet phldrT="[Текст]"/>
      <dgm:spPr/>
      <dgm:t>
        <a:bodyPr/>
        <a:lstStyle/>
        <a:p>
          <a:pPr algn="l"/>
          <a:endParaRPr lang="ru-RU" dirty="0"/>
        </a:p>
      </dgm:t>
    </dgm:pt>
    <dgm:pt modelId="{D3967AF1-91D5-41E7-A381-53658B0DF0EE}" type="parTrans" cxnId="{CDFB4D5A-FEF7-4B28-9320-31EB997745C7}">
      <dgm:prSet/>
      <dgm:spPr/>
      <dgm:t>
        <a:bodyPr/>
        <a:lstStyle/>
        <a:p>
          <a:endParaRPr lang="ru-RU"/>
        </a:p>
      </dgm:t>
    </dgm:pt>
    <dgm:pt modelId="{D2CD3E3E-17FB-47B8-A246-1D29FC21FEE1}" type="sibTrans" cxnId="{CDFB4D5A-FEF7-4B28-9320-31EB997745C7}">
      <dgm:prSet/>
      <dgm:spPr/>
      <dgm:t>
        <a:bodyPr/>
        <a:lstStyle/>
        <a:p>
          <a:endParaRPr lang="ru-RU"/>
        </a:p>
      </dgm:t>
    </dgm:pt>
    <dgm:pt modelId="{7439D472-7A17-4C96-9731-F5E671463281}">
      <dgm:prSet phldrT="[Текст]"/>
      <dgm:spPr/>
      <dgm:t>
        <a:bodyPr/>
        <a:lstStyle/>
        <a:p>
          <a:pPr algn="just"/>
          <a:r>
            <a:rPr lang="ru-RU" dirty="0">
              <a:solidFill>
                <a:schemeClr val="accent1">
                  <a:lumMod val="50000"/>
                </a:schemeClr>
              </a:solidFill>
              <a:latin typeface="Gilroy Light"/>
            </a:rPr>
            <a:t>Расширение возможностей для</a:t>
          </a: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оздоровления и конструктивной коммуникации</a:t>
          </a:r>
          <a:r>
            <a:rPr lang="ru-RU" b="0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 с инвалидностью, ОВЗ</a:t>
          </a:r>
        </a:p>
      </dgm:t>
    </dgm:pt>
    <dgm:pt modelId="{347E8092-B5F8-46AF-8BE4-3078D4E8651E}" type="parTrans" cxnId="{72F7BD0F-B05C-47C8-BCF4-F1E438FBBF16}">
      <dgm:prSet/>
      <dgm:spPr/>
      <dgm:t>
        <a:bodyPr/>
        <a:lstStyle/>
        <a:p>
          <a:endParaRPr lang="ru-RU"/>
        </a:p>
      </dgm:t>
    </dgm:pt>
    <dgm:pt modelId="{F1989148-4014-4A53-A209-07241AE88738}" type="sibTrans" cxnId="{72F7BD0F-B05C-47C8-BCF4-F1E438FBBF16}">
      <dgm:prSet/>
      <dgm:spPr/>
      <dgm:t>
        <a:bodyPr/>
        <a:lstStyle/>
        <a:p>
          <a:endParaRPr lang="ru-RU"/>
        </a:p>
      </dgm:t>
    </dgm:pt>
    <dgm:pt modelId="{6643ED72-EB5E-4127-A31C-B1D3FA7D36B2}">
      <dgm:prSet phldrT="[Текст]"/>
      <dgm:spPr/>
      <dgm:t>
        <a:bodyPr/>
        <a:lstStyle/>
        <a:p>
          <a:pPr algn="just">
            <a:buFont typeface="Arial" panose="020B0604020202020204" pitchFamily="34" charset="0"/>
            <a:buChar char="•"/>
          </a:pPr>
          <a:r>
            <a:rPr lang="ru-RU" b="0" dirty="0">
              <a:solidFill>
                <a:schemeClr val="accent1">
                  <a:lumMod val="50000"/>
                </a:schemeClr>
              </a:solidFill>
              <a:latin typeface="Gilroy Light"/>
            </a:rPr>
            <a:t>Создать</a:t>
          </a:r>
          <a:r>
            <a:rPr lang="ru-RU" b="1" dirty="0">
              <a:solidFill>
                <a:schemeClr val="accent1">
                  <a:lumMod val="50000"/>
                </a:schemeClr>
              </a:solidFill>
              <a:latin typeface="Gilroy Light"/>
            </a:rPr>
            <a:t>сеть муниципальных центров</a:t>
          </a:r>
          <a:r>
            <a:rPr lang="ru-RU" b="0" dirty="0">
              <a:solidFill>
                <a:schemeClr val="accent1">
                  <a:lumMod val="50000"/>
                </a:schemeClr>
              </a:solidFill>
              <a:latin typeface="Gilroy Light"/>
            </a:rPr>
            <a:t>адаптивных спортивных игр</a:t>
          </a:r>
          <a:endParaRPr lang="ru-RU" b="0" dirty="0">
            <a:solidFill>
              <a:schemeClr val="accent1">
                <a:lumMod val="50000"/>
              </a:schemeClr>
            </a:solidFill>
          </a:endParaRPr>
        </a:p>
      </dgm:t>
    </dgm:pt>
    <dgm:pt modelId="{A8D8988E-8063-46BB-9681-F5528E7F1BBD}" type="parTrans" cxnId="{1BFFC6DD-2647-4DD0-AB59-F2325880ADF9}">
      <dgm:prSet/>
      <dgm:spPr/>
      <dgm:t>
        <a:bodyPr/>
        <a:lstStyle/>
        <a:p>
          <a:endParaRPr lang="ru-RU"/>
        </a:p>
      </dgm:t>
    </dgm:pt>
    <dgm:pt modelId="{B2F6D8D7-5237-4180-8EF6-8F76AEAF6CF9}" type="sibTrans" cxnId="{1BFFC6DD-2647-4DD0-AB59-F2325880ADF9}">
      <dgm:prSet/>
      <dgm:spPr/>
      <dgm:t>
        <a:bodyPr/>
        <a:lstStyle/>
        <a:p>
          <a:endParaRPr lang="ru-RU"/>
        </a:p>
      </dgm:t>
    </dgm:pt>
    <dgm:pt modelId="{D33F0B40-3374-4EE4-B272-77C01E438769}" type="pres">
      <dgm:prSet presAssocID="{925FD56E-BCD1-4AD5-9D8C-8F2502F57788}" presName="linear" presStyleCnt="0">
        <dgm:presLayoutVars>
          <dgm:animLvl val="lvl"/>
          <dgm:resizeHandles val="exact"/>
        </dgm:presLayoutVars>
      </dgm:prSet>
      <dgm:spPr/>
    </dgm:pt>
    <dgm:pt modelId="{D14B4A3E-FE81-4885-863C-119F66C58DCD}" type="pres">
      <dgm:prSet presAssocID="{9568A62D-5F8C-4354-9836-37E5DEC042D1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27929397-2448-45EE-8908-A586EC10946D}" type="pres">
      <dgm:prSet presAssocID="{9568A62D-5F8C-4354-9836-37E5DEC042D1}" presName="childText" presStyleLbl="revTx" presStyleIdx="0" presStyleCnt="2">
        <dgm:presLayoutVars>
          <dgm:bulletEnabled val="1"/>
        </dgm:presLayoutVars>
      </dgm:prSet>
      <dgm:spPr/>
    </dgm:pt>
    <dgm:pt modelId="{704A2C2D-2BF7-44AB-929B-28C7D36DFCF0}" type="pres">
      <dgm:prSet presAssocID="{B20C9231-729B-4F69-A5BB-EEEB67572A6E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B7DF549-EF4D-43C7-9BDE-3578608E461E}" type="pres">
      <dgm:prSet presAssocID="{B20C9231-729B-4F69-A5BB-EEEB67572A6E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72F7BD0F-B05C-47C8-BCF4-F1E438FBBF16}" srcId="{B20C9231-729B-4F69-A5BB-EEEB67572A6E}" destId="{7439D472-7A17-4C96-9731-F5E671463281}" srcOrd="1" destOrd="0" parTransId="{347E8092-B5F8-46AF-8BE4-3078D4E8651E}" sibTransId="{F1989148-4014-4A53-A209-07241AE88738}"/>
    <dgm:cxn modelId="{C563631A-CC9A-4F8A-90A1-D0942550E854}" type="presOf" srcId="{6643ED72-EB5E-4127-A31C-B1D3FA7D36B2}" destId="{27929397-2448-45EE-8908-A586EC10946D}" srcOrd="0" destOrd="1" presId="urn:microsoft.com/office/officeart/2005/8/layout/vList2"/>
    <dgm:cxn modelId="{9D6E1E5D-25C0-474D-A68E-16B04395D838}" type="presOf" srcId="{49E057FB-77A5-42A5-8087-7071795E54E4}" destId="{27929397-2448-45EE-8908-A586EC10946D}" srcOrd="0" destOrd="0" presId="urn:microsoft.com/office/officeart/2005/8/layout/vList2"/>
    <dgm:cxn modelId="{BCD4FE73-BE24-4441-988F-1190B3A76ACA}" srcId="{925FD56E-BCD1-4AD5-9D8C-8F2502F57788}" destId="{B20C9231-729B-4F69-A5BB-EEEB67572A6E}" srcOrd="1" destOrd="0" parTransId="{243B9B88-28CC-41AC-9F46-DBE6D95D6641}" sibTransId="{F8EA0F58-AA2B-4C84-B9E9-37BEE8BB3228}"/>
    <dgm:cxn modelId="{CDFB4D5A-FEF7-4B28-9320-31EB997745C7}" srcId="{B20C9231-729B-4F69-A5BB-EEEB67572A6E}" destId="{F20E8ECB-744F-49C1-928A-819F24ABC913}" srcOrd="2" destOrd="0" parTransId="{D3967AF1-91D5-41E7-A381-53658B0DF0EE}" sibTransId="{D2CD3E3E-17FB-47B8-A246-1D29FC21FEE1}"/>
    <dgm:cxn modelId="{E9E9027B-C2D9-44CA-AE1C-64AC8856545F}" type="presOf" srcId="{B20C9231-729B-4F69-A5BB-EEEB67572A6E}" destId="{704A2C2D-2BF7-44AB-929B-28C7D36DFCF0}" srcOrd="0" destOrd="0" presId="urn:microsoft.com/office/officeart/2005/8/layout/vList2"/>
    <dgm:cxn modelId="{C6F9238E-42F9-4581-81B5-AB31C3B3F919}" srcId="{925FD56E-BCD1-4AD5-9D8C-8F2502F57788}" destId="{9568A62D-5F8C-4354-9836-37E5DEC042D1}" srcOrd="0" destOrd="0" parTransId="{06571887-4A32-437F-8547-704A153B8A2C}" sibTransId="{9AF0BBD8-8B3D-4184-A6DF-4330BDE3E0FD}"/>
    <dgm:cxn modelId="{872000AA-A529-4C44-A331-9BD5F064E607}" type="presOf" srcId="{90175FC7-A2C4-455F-A975-0878A8BF7D83}" destId="{8B7DF549-EF4D-43C7-9BDE-3578608E461E}" srcOrd="0" destOrd="0" presId="urn:microsoft.com/office/officeart/2005/8/layout/vList2"/>
    <dgm:cxn modelId="{348F1AB7-E66B-4E1E-B35E-BE60FFD93E92}" srcId="{B20C9231-729B-4F69-A5BB-EEEB67572A6E}" destId="{90175FC7-A2C4-455F-A975-0878A8BF7D83}" srcOrd="0" destOrd="0" parTransId="{0481E2B2-062B-4F07-A464-AF417D6F7BF9}" sibTransId="{61D4655E-6C4D-4188-8AB0-733009804CFF}"/>
    <dgm:cxn modelId="{064D97C2-A243-419A-A0A7-A6337362988D}" srcId="{9568A62D-5F8C-4354-9836-37E5DEC042D1}" destId="{49E057FB-77A5-42A5-8087-7071795E54E4}" srcOrd="0" destOrd="0" parTransId="{C04F2F44-8DFC-4BA4-9242-78397F7FC9D8}" sibTransId="{7568BA65-8D55-4D8C-81CA-C0FF8A79C200}"/>
    <dgm:cxn modelId="{AB56E2C8-CD47-4EE6-9524-456907D9BB11}" type="presOf" srcId="{7439D472-7A17-4C96-9731-F5E671463281}" destId="{8B7DF549-EF4D-43C7-9BDE-3578608E461E}" srcOrd="0" destOrd="1" presId="urn:microsoft.com/office/officeart/2005/8/layout/vList2"/>
    <dgm:cxn modelId="{AAD1C5DC-99AA-4EB8-A4D9-F7E832A12FE9}" type="presOf" srcId="{9568A62D-5F8C-4354-9836-37E5DEC042D1}" destId="{D14B4A3E-FE81-4885-863C-119F66C58DCD}" srcOrd="0" destOrd="0" presId="urn:microsoft.com/office/officeart/2005/8/layout/vList2"/>
    <dgm:cxn modelId="{1BFFC6DD-2647-4DD0-AB59-F2325880ADF9}" srcId="{9568A62D-5F8C-4354-9836-37E5DEC042D1}" destId="{6643ED72-EB5E-4127-A31C-B1D3FA7D36B2}" srcOrd="1" destOrd="0" parTransId="{A8D8988E-8063-46BB-9681-F5528E7F1BBD}" sibTransId="{B2F6D8D7-5237-4180-8EF6-8F76AEAF6CF9}"/>
    <dgm:cxn modelId="{B72E45E8-0F50-4BB4-AE08-F03BF0DDD2A3}" type="presOf" srcId="{925FD56E-BCD1-4AD5-9D8C-8F2502F57788}" destId="{D33F0B40-3374-4EE4-B272-77C01E438769}" srcOrd="0" destOrd="0" presId="urn:microsoft.com/office/officeart/2005/8/layout/vList2"/>
    <dgm:cxn modelId="{81EF10EE-D6B2-40C4-8B72-4BA067DD68F6}" type="presOf" srcId="{F20E8ECB-744F-49C1-928A-819F24ABC913}" destId="{8B7DF549-EF4D-43C7-9BDE-3578608E461E}" srcOrd="0" destOrd="2" presId="urn:microsoft.com/office/officeart/2005/8/layout/vList2"/>
    <dgm:cxn modelId="{39E5CBA1-175C-4915-B3BE-7603C6F2A9E2}" type="presParOf" srcId="{D33F0B40-3374-4EE4-B272-77C01E438769}" destId="{D14B4A3E-FE81-4885-863C-119F66C58DCD}" srcOrd="0" destOrd="0" presId="urn:microsoft.com/office/officeart/2005/8/layout/vList2"/>
    <dgm:cxn modelId="{30EF84E4-B939-4423-80CE-21E1A14DE8AA}" type="presParOf" srcId="{D33F0B40-3374-4EE4-B272-77C01E438769}" destId="{27929397-2448-45EE-8908-A586EC10946D}" srcOrd="1" destOrd="0" presId="urn:microsoft.com/office/officeart/2005/8/layout/vList2"/>
    <dgm:cxn modelId="{FBE40501-4244-4746-B705-C2310D25B0E0}" type="presParOf" srcId="{D33F0B40-3374-4EE4-B272-77C01E438769}" destId="{704A2C2D-2BF7-44AB-929B-28C7D36DFCF0}" srcOrd="2" destOrd="0" presId="urn:microsoft.com/office/officeart/2005/8/layout/vList2"/>
    <dgm:cxn modelId="{C2688E42-8708-4451-8D3F-74D989188CFD}" type="presParOf" srcId="{D33F0B40-3374-4EE4-B272-77C01E438769}" destId="{8B7DF549-EF4D-43C7-9BDE-3578608E461E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D418F47-245C-4592-8B14-05D4D609F012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5EFB7907-0DBA-454E-AFDA-30D96688728A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pPr>
            <a:spcAft>
              <a:spcPts val="0"/>
            </a:spcAft>
          </a:pPr>
          <a:r>
            <a:rPr lang="ru-RU" b="1" dirty="0">
              <a:solidFill>
                <a:schemeClr val="accent5">
                  <a:lumMod val="75000"/>
                </a:schemeClr>
              </a:solidFill>
            </a:rPr>
            <a:t>Создание НКО</a:t>
          </a:r>
        </a:p>
        <a:p>
          <a:pPr>
            <a:spcAft>
              <a:spcPts val="0"/>
            </a:spcAft>
          </a:pPr>
          <a:r>
            <a:rPr lang="ru-RU" b="1" dirty="0">
              <a:solidFill>
                <a:schemeClr val="accent5">
                  <a:lumMod val="75000"/>
                </a:schemeClr>
              </a:solidFill>
            </a:rPr>
            <a:t>«РЦАСИ»</a:t>
          </a:r>
        </a:p>
      </dgm:t>
    </dgm:pt>
    <dgm:pt modelId="{43368F5C-8E43-4A4B-A525-EAD2E4F2B102}" type="parTrans" cxnId="{62748205-3211-4D0A-8787-009B6D8BEEC3}">
      <dgm:prSet/>
      <dgm:spPr/>
      <dgm:t>
        <a:bodyPr/>
        <a:lstStyle/>
        <a:p>
          <a:endParaRPr lang="ru-RU"/>
        </a:p>
      </dgm:t>
    </dgm:pt>
    <dgm:pt modelId="{B19F3F3D-D1F9-4086-82E1-AE222CED843D}" type="sibTrans" cxnId="{62748205-3211-4D0A-8787-009B6D8BEEC3}">
      <dgm:prSet/>
      <dgm:spPr/>
      <dgm:t>
        <a:bodyPr/>
        <a:lstStyle/>
        <a:p>
          <a:endParaRPr lang="ru-RU"/>
        </a:p>
      </dgm:t>
    </dgm:pt>
    <dgm:pt modelId="{68FEAB86-7339-487B-BF1A-3AC50B848461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pPr>
            <a:spcAft>
              <a:spcPts val="0"/>
            </a:spcAft>
          </a:pPr>
          <a:r>
            <a:rPr lang="ru-RU" b="1" dirty="0">
              <a:solidFill>
                <a:schemeClr val="accent5">
                  <a:lumMod val="75000"/>
                </a:schemeClr>
              </a:solidFill>
            </a:rPr>
            <a:t>Формирование</a:t>
          </a:r>
        </a:p>
        <a:p>
          <a:pPr>
            <a:spcAft>
              <a:spcPts val="0"/>
            </a:spcAft>
          </a:pPr>
          <a:r>
            <a:rPr lang="ru-RU" b="1" dirty="0">
              <a:solidFill>
                <a:schemeClr val="accent5">
                  <a:lumMod val="75000"/>
                </a:schemeClr>
              </a:solidFill>
            </a:rPr>
            <a:t>штата</a:t>
          </a:r>
        </a:p>
      </dgm:t>
    </dgm:pt>
    <dgm:pt modelId="{572930E5-498C-4407-A3A0-9E2909A18C22}" type="parTrans" cxnId="{BAA6911D-4761-4AA9-9413-1F721E049AB6}">
      <dgm:prSet/>
      <dgm:spPr/>
      <dgm:t>
        <a:bodyPr/>
        <a:lstStyle/>
        <a:p>
          <a:endParaRPr lang="ru-RU"/>
        </a:p>
      </dgm:t>
    </dgm:pt>
    <dgm:pt modelId="{13B1BEF8-52CB-42CC-B95A-FD7F4E16805C}" type="sibTrans" cxnId="{BAA6911D-4761-4AA9-9413-1F721E049AB6}">
      <dgm:prSet/>
      <dgm:spPr/>
      <dgm:t>
        <a:bodyPr/>
        <a:lstStyle/>
        <a:p>
          <a:endParaRPr lang="ru-RU"/>
        </a:p>
      </dgm:t>
    </dgm:pt>
    <dgm:pt modelId="{A4A153F7-E634-41ED-93A8-026253A9C837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ru-RU" b="1" dirty="0">
              <a:solidFill>
                <a:schemeClr val="accent5">
                  <a:lumMod val="75000"/>
                </a:schemeClr>
              </a:solidFill>
            </a:rPr>
            <a:t>Подготовка помещения для игр</a:t>
          </a:r>
        </a:p>
      </dgm:t>
    </dgm:pt>
    <dgm:pt modelId="{48EEDBF8-324F-46A8-A3C3-07160423202E}" type="parTrans" cxnId="{212AB059-1F76-48E3-AC6C-6A09AC7C22AC}">
      <dgm:prSet/>
      <dgm:spPr/>
      <dgm:t>
        <a:bodyPr/>
        <a:lstStyle/>
        <a:p>
          <a:endParaRPr lang="ru-RU"/>
        </a:p>
      </dgm:t>
    </dgm:pt>
    <dgm:pt modelId="{C7EFCCDB-4E68-4A65-B1E0-25AEEFA44E76}" type="sibTrans" cxnId="{212AB059-1F76-48E3-AC6C-6A09AC7C22AC}">
      <dgm:prSet/>
      <dgm:spPr/>
      <dgm:t>
        <a:bodyPr/>
        <a:lstStyle/>
        <a:p>
          <a:endParaRPr lang="ru-RU"/>
        </a:p>
      </dgm:t>
    </dgm:pt>
    <dgm:pt modelId="{12AB2FD4-BFFB-4C92-AD3B-C817DA2C137F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ru-RU" b="1" dirty="0">
              <a:solidFill>
                <a:schemeClr val="accent5">
                  <a:lumMod val="75000"/>
                </a:schemeClr>
              </a:solidFill>
            </a:rPr>
            <a:t>Разработка и реализация плана работы</a:t>
          </a:r>
        </a:p>
      </dgm:t>
    </dgm:pt>
    <dgm:pt modelId="{83DEE20D-81C9-4EF4-A112-8598472D9481}" type="parTrans" cxnId="{CAEDB1F0-41CE-4BB0-B57D-F500DAB03C22}">
      <dgm:prSet/>
      <dgm:spPr/>
      <dgm:t>
        <a:bodyPr/>
        <a:lstStyle/>
        <a:p>
          <a:endParaRPr lang="ru-RU"/>
        </a:p>
      </dgm:t>
    </dgm:pt>
    <dgm:pt modelId="{01A90546-B6C6-44B8-840D-128699DD2D91}" type="sibTrans" cxnId="{CAEDB1F0-41CE-4BB0-B57D-F500DAB03C22}">
      <dgm:prSet/>
      <dgm:spPr/>
      <dgm:t>
        <a:bodyPr/>
        <a:lstStyle/>
        <a:p>
          <a:endParaRPr lang="ru-RU"/>
        </a:p>
      </dgm:t>
    </dgm:pt>
    <dgm:pt modelId="{40D36B59-40FB-4F9F-A051-02CD2F93F297}">
      <dgm:prSet phldrT="[Текст]" custT="1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pPr>
            <a:spcAft>
              <a:spcPts val="0"/>
            </a:spcAft>
          </a:pPr>
          <a:r>
            <a:rPr lang="ru-RU" sz="2000" b="1" dirty="0">
              <a:solidFill>
                <a:schemeClr val="accent2">
                  <a:lumMod val="75000"/>
                </a:schemeClr>
              </a:solidFill>
            </a:rPr>
            <a:t>2022</a:t>
          </a:r>
        </a:p>
      </dgm:t>
    </dgm:pt>
    <dgm:pt modelId="{30121FB8-5336-4550-B88D-A315B376C9ED}" type="parTrans" cxnId="{AB609BC3-BFA9-4A34-9776-CADB9DC17A37}">
      <dgm:prSet/>
      <dgm:spPr/>
      <dgm:t>
        <a:bodyPr/>
        <a:lstStyle/>
        <a:p>
          <a:endParaRPr lang="ru-RU"/>
        </a:p>
      </dgm:t>
    </dgm:pt>
    <dgm:pt modelId="{6250BD49-8B01-4BAE-ABAD-479C6D1A4245}" type="sibTrans" cxnId="{AB609BC3-BFA9-4A34-9776-CADB9DC17A37}">
      <dgm:prSet/>
      <dgm:spPr/>
      <dgm:t>
        <a:bodyPr/>
        <a:lstStyle/>
        <a:p>
          <a:endParaRPr lang="ru-RU"/>
        </a:p>
      </dgm:t>
    </dgm:pt>
    <dgm:pt modelId="{3A3559DF-B877-42B2-A9EE-B1B062047662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ru-RU" b="1" dirty="0">
              <a:solidFill>
                <a:schemeClr val="accent5">
                  <a:lumMod val="75000"/>
                </a:schemeClr>
              </a:solidFill>
            </a:rPr>
            <a:t>Издание учебно-методических пособий</a:t>
          </a:r>
        </a:p>
      </dgm:t>
    </dgm:pt>
    <dgm:pt modelId="{27D1EA00-C80B-4C12-9DD0-83AAD807BC4B}" type="parTrans" cxnId="{8FB0B422-4200-4F95-AE40-6E40ABD27A0B}">
      <dgm:prSet/>
      <dgm:spPr/>
      <dgm:t>
        <a:bodyPr/>
        <a:lstStyle/>
        <a:p>
          <a:endParaRPr lang="ru-RU"/>
        </a:p>
      </dgm:t>
    </dgm:pt>
    <dgm:pt modelId="{2E6EC996-6AF2-4DFE-83F4-2F91BB52D938}" type="sibTrans" cxnId="{8FB0B422-4200-4F95-AE40-6E40ABD27A0B}">
      <dgm:prSet/>
      <dgm:spPr/>
      <dgm:t>
        <a:bodyPr/>
        <a:lstStyle/>
        <a:p>
          <a:endParaRPr lang="ru-RU"/>
        </a:p>
      </dgm:t>
    </dgm:pt>
    <dgm:pt modelId="{D627E35E-BF11-456E-8E33-F18826EE40A8}" type="pres">
      <dgm:prSet presAssocID="{4D418F47-245C-4592-8B14-05D4D609F012}" presName="Name0" presStyleCnt="0">
        <dgm:presLayoutVars>
          <dgm:dir/>
          <dgm:resizeHandles val="exact"/>
        </dgm:presLayoutVars>
      </dgm:prSet>
      <dgm:spPr/>
    </dgm:pt>
    <dgm:pt modelId="{1C221B38-3919-4EDD-9E7F-FDF45AF40EDA}" type="pres">
      <dgm:prSet presAssocID="{40D36B59-40FB-4F9F-A051-02CD2F93F297}" presName="parTxOnly" presStyleLbl="node1" presStyleIdx="0" presStyleCnt="6" custScaleX="60268" custLinFactNeighborX="-3848" custLinFactNeighborY="-3722">
        <dgm:presLayoutVars>
          <dgm:bulletEnabled val="1"/>
        </dgm:presLayoutVars>
      </dgm:prSet>
      <dgm:spPr/>
    </dgm:pt>
    <dgm:pt modelId="{B7688299-627F-42FF-A69B-09D02ED1A578}" type="pres">
      <dgm:prSet presAssocID="{6250BD49-8B01-4BAE-ABAD-479C6D1A4245}" presName="parSpace" presStyleCnt="0"/>
      <dgm:spPr/>
    </dgm:pt>
    <dgm:pt modelId="{483A92AE-AE94-46EC-A9BF-2F417B9E0DA2}" type="pres">
      <dgm:prSet presAssocID="{5EFB7907-0DBA-454E-AFDA-30D96688728A}" presName="parTxOnly" presStyleLbl="node1" presStyleIdx="1" presStyleCnt="6" custLinFactNeighborX="13179" custLinFactNeighborY="-1096">
        <dgm:presLayoutVars>
          <dgm:bulletEnabled val="1"/>
        </dgm:presLayoutVars>
      </dgm:prSet>
      <dgm:spPr/>
    </dgm:pt>
    <dgm:pt modelId="{D148754E-9276-491F-81E9-5D6E007CFA9E}" type="pres">
      <dgm:prSet presAssocID="{B19F3F3D-D1F9-4086-82E1-AE222CED843D}" presName="parSpace" presStyleCnt="0"/>
      <dgm:spPr/>
    </dgm:pt>
    <dgm:pt modelId="{A6FEC4CA-A770-4E50-9436-6CD08743675E}" type="pres">
      <dgm:prSet presAssocID="{68FEAB86-7339-487B-BF1A-3AC50B848461}" presName="parTxOnly" presStyleLbl="node1" presStyleIdx="2" presStyleCnt="6" custScaleY="100357" custLinFactNeighborX="11992" custLinFactNeighborY="-1114">
        <dgm:presLayoutVars>
          <dgm:bulletEnabled val="1"/>
        </dgm:presLayoutVars>
      </dgm:prSet>
      <dgm:spPr/>
    </dgm:pt>
    <dgm:pt modelId="{C22D1E27-D75C-474A-84E4-A45967C39F9A}" type="pres">
      <dgm:prSet presAssocID="{13B1BEF8-52CB-42CC-B95A-FD7F4E16805C}" presName="parSpace" presStyleCnt="0"/>
      <dgm:spPr/>
    </dgm:pt>
    <dgm:pt modelId="{001FDC29-14AF-4690-BB59-7D2DDB711586}" type="pres">
      <dgm:prSet presAssocID="{A4A153F7-E634-41ED-93A8-026253A9C837}" presName="parTxOnly" presStyleLbl="node1" presStyleIdx="3" presStyleCnt="6">
        <dgm:presLayoutVars>
          <dgm:bulletEnabled val="1"/>
        </dgm:presLayoutVars>
      </dgm:prSet>
      <dgm:spPr/>
    </dgm:pt>
    <dgm:pt modelId="{2005028C-7D65-404C-B9E0-2E73453353FC}" type="pres">
      <dgm:prSet presAssocID="{C7EFCCDB-4E68-4A65-B1E0-25AEEFA44E76}" presName="parSpace" presStyleCnt="0"/>
      <dgm:spPr/>
    </dgm:pt>
    <dgm:pt modelId="{A268F8A5-EDEF-4D89-9421-CD38901D368B}" type="pres">
      <dgm:prSet presAssocID="{12AB2FD4-BFFB-4C92-AD3B-C817DA2C137F}" presName="parTxOnly" presStyleLbl="node1" presStyleIdx="4" presStyleCnt="6">
        <dgm:presLayoutVars>
          <dgm:bulletEnabled val="1"/>
        </dgm:presLayoutVars>
      </dgm:prSet>
      <dgm:spPr/>
    </dgm:pt>
    <dgm:pt modelId="{45AAF16D-C44F-49F6-8117-2F0B23F8671E}" type="pres">
      <dgm:prSet presAssocID="{01A90546-B6C6-44B8-840D-128699DD2D91}" presName="parSpace" presStyleCnt="0"/>
      <dgm:spPr/>
    </dgm:pt>
    <dgm:pt modelId="{A2699AFF-8AD5-461E-B54C-5AB771927CB1}" type="pres">
      <dgm:prSet presAssocID="{3A3559DF-B877-42B2-A9EE-B1B062047662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62748205-3211-4D0A-8787-009B6D8BEEC3}" srcId="{4D418F47-245C-4592-8B14-05D4D609F012}" destId="{5EFB7907-0DBA-454E-AFDA-30D96688728A}" srcOrd="1" destOrd="0" parTransId="{43368F5C-8E43-4A4B-A525-EAD2E4F2B102}" sibTransId="{B19F3F3D-D1F9-4086-82E1-AE222CED843D}"/>
    <dgm:cxn modelId="{BAA6911D-4761-4AA9-9413-1F721E049AB6}" srcId="{4D418F47-245C-4592-8B14-05D4D609F012}" destId="{68FEAB86-7339-487B-BF1A-3AC50B848461}" srcOrd="2" destOrd="0" parTransId="{572930E5-498C-4407-A3A0-9E2909A18C22}" sibTransId="{13B1BEF8-52CB-42CC-B95A-FD7F4E16805C}"/>
    <dgm:cxn modelId="{8FB0B422-4200-4F95-AE40-6E40ABD27A0B}" srcId="{4D418F47-245C-4592-8B14-05D4D609F012}" destId="{3A3559DF-B877-42B2-A9EE-B1B062047662}" srcOrd="5" destOrd="0" parTransId="{27D1EA00-C80B-4C12-9DD0-83AAD807BC4B}" sibTransId="{2E6EC996-6AF2-4DFE-83F4-2F91BB52D938}"/>
    <dgm:cxn modelId="{30DCAD32-0853-4A07-8C0E-AAD77029DB28}" type="presOf" srcId="{5EFB7907-0DBA-454E-AFDA-30D96688728A}" destId="{483A92AE-AE94-46EC-A9BF-2F417B9E0DA2}" srcOrd="0" destOrd="0" presId="urn:microsoft.com/office/officeart/2005/8/layout/hChevron3"/>
    <dgm:cxn modelId="{265E0B43-C3A7-4B2B-9E6D-4BD1103CFE72}" type="presOf" srcId="{68FEAB86-7339-487B-BF1A-3AC50B848461}" destId="{A6FEC4CA-A770-4E50-9436-6CD08743675E}" srcOrd="0" destOrd="0" presId="urn:microsoft.com/office/officeart/2005/8/layout/hChevron3"/>
    <dgm:cxn modelId="{26D08043-FB3E-4FE8-A622-4B821522AF11}" type="presOf" srcId="{4D418F47-245C-4592-8B14-05D4D609F012}" destId="{D627E35E-BF11-456E-8E33-F18826EE40A8}" srcOrd="0" destOrd="0" presId="urn:microsoft.com/office/officeart/2005/8/layout/hChevron3"/>
    <dgm:cxn modelId="{D46EBC4C-EF8B-48B7-8845-CC7C4E4E38EB}" type="presOf" srcId="{A4A153F7-E634-41ED-93A8-026253A9C837}" destId="{001FDC29-14AF-4690-BB59-7D2DDB711586}" srcOrd="0" destOrd="0" presId="urn:microsoft.com/office/officeart/2005/8/layout/hChevron3"/>
    <dgm:cxn modelId="{6F8CF26D-00B9-40A9-A913-E82E7BFE77B8}" type="presOf" srcId="{12AB2FD4-BFFB-4C92-AD3B-C817DA2C137F}" destId="{A268F8A5-EDEF-4D89-9421-CD38901D368B}" srcOrd="0" destOrd="0" presId="urn:microsoft.com/office/officeart/2005/8/layout/hChevron3"/>
    <dgm:cxn modelId="{63B9D14E-00CB-4EB3-90BB-76257E9552AA}" type="presOf" srcId="{3A3559DF-B877-42B2-A9EE-B1B062047662}" destId="{A2699AFF-8AD5-461E-B54C-5AB771927CB1}" srcOrd="0" destOrd="0" presId="urn:microsoft.com/office/officeart/2005/8/layout/hChevron3"/>
    <dgm:cxn modelId="{212AB059-1F76-48E3-AC6C-6A09AC7C22AC}" srcId="{4D418F47-245C-4592-8B14-05D4D609F012}" destId="{A4A153F7-E634-41ED-93A8-026253A9C837}" srcOrd="3" destOrd="0" parTransId="{48EEDBF8-324F-46A8-A3C3-07160423202E}" sibTransId="{C7EFCCDB-4E68-4A65-B1E0-25AEEFA44E76}"/>
    <dgm:cxn modelId="{66839DB8-BE8B-4C45-A9B3-7B72FA89023F}" type="presOf" srcId="{40D36B59-40FB-4F9F-A051-02CD2F93F297}" destId="{1C221B38-3919-4EDD-9E7F-FDF45AF40EDA}" srcOrd="0" destOrd="0" presId="urn:microsoft.com/office/officeart/2005/8/layout/hChevron3"/>
    <dgm:cxn modelId="{AB609BC3-BFA9-4A34-9776-CADB9DC17A37}" srcId="{4D418F47-245C-4592-8B14-05D4D609F012}" destId="{40D36B59-40FB-4F9F-A051-02CD2F93F297}" srcOrd="0" destOrd="0" parTransId="{30121FB8-5336-4550-B88D-A315B376C9ED}" sibTransId="{6250BD49-8B01-4BAE-ABAD-479C6D1A4245}"/>
    <dgm:cxn modelId="{CAEDB1F0-41CE-4BB0-B57D-F500DAB03C22}" srcId="{4D418F47-245C-4592-8B14-05D4D609F012}" destId="{12AB2FD4-BFFB-4C92-AD3B-C817DA2C137F}" srcOrd="4" destOrd="0" parTransId="{83DEE20D-81C9-4EF4-A112-8598472D9481}" sibTransId="{01A90546-B6C6-44B8-840D-128699DD2D91}"/>
    <dgm:cxn modelId="{6E913D04-EB33-4F4F-B6BF-91305B00EEB5}" type="presParOf" srcId="{D627E35E-BF11-456E-8E33-F18826EE40A8}" destId="{1C221B38-3919-4EDD-9E7F-FDF45AF40EDA}" srcOrd="0" destOrd="0" presId="urn:microsoft.com/office/officeart/2005/8/layout/hChevron3"/>
    <dgm:cxn modelId="{25A67298-94EE-4112-BBFF-16CFF3E11C49}" type="presParOf" srcId="{D627E35E-BF11-456E-8E33-F18826EE40A8}" destId="{B7688299-627F-42FF-A69B-09D02ED1A578}" srcOrd="1" destOrd="0" presId="urn:microsoft.com/office/officeart/2005/8/layout/hChevron3"/>
    <dgm:cxn modelId="{9A6B2B2E-3C03-4B4D-83C2-FD5913FC389B}" type="presParOf" srcId="{D627E35E-BF11-456E-8E33-F18826EE40A8}" destId="{483A92AE-AE94-46EC-A9BF-2F417B9E0DA2}" srcOrd="2" destOrd="0" presId="urn:microsoft.com/office/officeart/2005/8/layout/hChevron3"/>
    <dgm:cxn modelId="{E413A3C1-E54D-4589-B84E-1539C18DDB7C}" type="presParOf" srcId="{D627E35E-BF11-456E-8E33-F18826EE40A8}" destId="{D148754E-9276-491F-81E9-5D6E007CFA9E}" srcOrd="3" destOrd="0" presId="urn:microsoft.com/office/officeart/2005/8/layout/hChevron3"/>
    <dgm:cxn modelId="{784E6E2C-89B8-45CC-B230-87A42CA5E9DE}" type="presParOf" srcId="{D627E35E-BF11-456E-8E33-F18826EE40A8}" destId="{A6FEC4CA-A770-4E50-9436-6CD08743675E}" srcOrd="4" destOrd="0" presId="urn:microsoft.com/office/officeart/2005/8/layout/hChevron3"/>
    <dgm:cxn modelId="{DB15D49D-48CE-4330-86FD-FE4CAD59C8B6}" type="presParOf" srcId="{D627E35E-BF11-456E-8E33-F18826EE40A8}" destId="{C22D1E27-D75C-474A-84E4-A45967C39F9A}" srcOrd="5" destOrd="0" presId="urn:microsoft.com/office/officeart/2005/8/layout/hChevron3"/>
    <dgm:cxn modelId="{FDFF7122-0E6C-44A3-BC62-926B36EC9678}" type="presParOf" srcId="{D627E35E-BF11-456E-8E33-F18826EE40A8}" destId="{001FDC29-14AF-4690-BB59-7D2DDB711586}" srcOrd="6" destOrd="0" presId="urn:microsoft.com/office/officeart/2005/8/layout/hChevron3"/>
    <dgm:cxn modelId="{4E6B9C75-3F86-44E1-812C-9EF345F1CDBC}" type="presParOf" srcId="{D627E35E-BF11-456E-8E33-F18826EE40A8}" destId="{2005028C-7D65-404C-B9E0-2E73453353FC}" srcOrd="7" destOrd="0" presId="urn:microsoft.com/office/officeart/2005/8/layout/hChevron3"/>
    <dgm:cxn modelId="{E3C13E26-FE71-43FE-B6EE-3A8480BFB39E}" type="presParOf" srcId="{D627E35E-BF11-456E-8E33-F18826EE40A8}" destId="{A268F8A5-EDEF-4D89-9421-CD38901D368B}" srcOrd="8" destOrd="0" presId="urn:microsoft.com/office/officeart/2005/8/layout/hChevron3"/>
    <dgm:cxn modelId="{6158B6C6-3DEE-4821-8244-92CB9EE54FAC}" type="presParOf" srcId="{D627E35E-BF11-456E-8E33-F18826EE40A8}" destId="{45AAF16D-C44F-49F6-8117-2F0B23F8671E}" srcOrd="9" destOrd="0" presId="urn:microsoft.com/office/officeart/2005/8/layout/hChevron3"/>
    <dgm:cxn modelId="{03D1B6CE-9DAD-46D7-A040-FC77E34E2567}" type="presParOf" srcId="{D627E35E-BF11-456E-8E33-F18826EE40A8}" destId="{A2699AFF-8AD5-461E-B54C-5AB771927CB1}" srcOrd="10" destOrd="0" presId="urn:microsoft.com/office/officeart/2005/8/layout/hChevron3"/>
  </dgm:cxnLst>
  <dgm:bg/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11D6880-2385-444F-9096-C4B3C3AEDF6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078CF98-E5D5-49BB-A1B7-FC0FA38EA38B}">
      <dgm:prSet phldrT="[Текст]"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b="1" dirty="0">
              <a:solidFill>
                <a:schemeClr val="accent2">
                  <a:lumMod val="75000"/>
                </a:schemeClr>
              </a:solidFill>
            </a:rPr>
            <a:t>2023</a:t>
          </a:r>
        </a:p>
      </dgm:t>
    </dgm:pt>
    <dgm:pt modelId="{94E4BA7B-3B87-426F-8681-314EFAD07C0B}" type="parTrans" cxnId="{1AAE5410-BE68-436C-BB04-ADA3E573CC47}">
      <dgm:prSet/>
      <dgm:spPr/>
      <dgm:t>
        <a:bodyPr/>
        <a:lstStyle/>
        <a:p>
          <a:endParaRPr lang="ru-RU"/>
        </a:p>
      </dgm:t>
    </dgm:pt>
    <dgm:pt modelId="{948D81D0-D84D-45C8-89A5-9B54164C2204}" type="sibTrans" cxnId="{1AAE5410-BE68-436C-BB04-ADA3E573CC47}">
      <dgm:prSet/>
      <dgm:spPr/>
      <dgm:t>
        <a:bodyPr/>
        <a:lstStyle/>
        <a:p>
          <a:endParaRPr lang="ru-RU"/>
        </a:p>
      </dgm:t>
    </dgm:pt>
    <dgm:pt modelId="{7A7D8870-CDE5-4FA4-9674-463BFC2C4FA3}">
      <dgm:prSet phldrT="[Текст]"/>
      <dgm:spPr>
        <a:solidFill>
          <a:schemeClr val="bg1"/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kumimoji="0" lang="ru-RU" b="1" i="0" u="none" strike="noStrike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Times New Roman" panose="02020603050405020304" pitchFamily="18" charset="0"/>
              <a:sym typeface="Arial"/>
            </a:rPr>
            <a:t>Тиражирование в других регионах, участие во всероссийских играх</a:t>
          </a:r>
          <a:endParaRPr lang="ru-RU" b="1" dirty="0">
            <a:solidFill>
              <a:schemeClr val="accent5">
                <a:lumMod val="75000"/>
              </a:schemeClr>
            </a:solidFill>
          </a:endParaRPr>
        </a:p>
      </dgm:t>
    </dgm:pt>
    <dgm:pt modelId="{0B5996DF-1380-4E18-B7C1-33B0C9DDCD0C}" type="parTrans" cxnId="{6CF9E4BD-0B2A-46C8-9E07-929F52B17E67}">
      <dgm:prSet/>
      <dgm:spPr/>
      <dgm:t>
        <a:bodyPr/>
        <a:lstStyle/>
        <a:p>
          <a:endParaRPr lang="ru-RU"/>
        </a:p>
      </dgm:t>
    </dgm:pt>
    <dgm:pt modelId="{B5E3CE6C-7424-4D8C-B831-7D6DF6C5A48E}" type="sibTrans" cxnId="{6CF9E4BD-0B2A-46C8-9E07-929F52B17E67}">
      <dgm:prSet/>
      <dgm:spPr/>
      <dgm:t>
        <a:bodyPr/>
        <a:lstStyle/>
        <a:p>
          <a:endParaRPr lang="ru-RU"/>
        </a:p>
      </dgm:t>
    </dgm:pt>
    <dgm:pt modelId="{28ED8307-8FF9-4C46-88F8-2A864A884272}" type="pres">
      <dgm:prSet presAssocID="{A11D6880-2385-444F-9096-C4B3C3AEDF63}" presName="Name0" presStyleCnt="0">
        <dgm:presLayoutVars>
          <dgm:dir/>
          <dgm:animLvl val="lvl"/>
          <dgm:resizeHandles val="exact"/>
        </dgm:presLayoutVars>
      </dgm:prSet>
      <dgm:spPr/>
    </dgm:pt>
    <dgm:pt modelId="{15086573-1C55-40FB-9ADC-BBA1A5C2470F}" type="pres">
      <dgm:prSet presAssocID="{7078CF98-E5D5-49BB-A1B7-FC0FA38EA38B}" presName="parTxOnly" presStyleLbl="node1" presStyleIdx="0" presStyleCnt="2" custScaleX="39183" custLinFactNeighborX="7800" custLinFactNeighborY="1364">
        <dgm:presLayoutVars>
          <dgm:chMax val="0"/>
          <dgm:chPref val="0"/>
          <dgm:bulletEnabled val="1"/>
        </dgm:presLayoutVars>
      </dgm:prSet>
      <dgm:spPr/>
    </dgm:pt>
    <dgm:pt modelId="{D1ABB2B1-3F0A-4B43-9FC6-4281575FB457}" type="pres">
      <dgm:prSet presAssocID="{948D81D0-D84D-45C8-89A5-9B54164C2204}" presName="parTxOnlySpace" presStyleCnt="0"/>
      <dgm:spPr/>
    </dgm:pt>
    <dgm:pt modelId="{0672DC38-8953-475E-A142-41D2F9831691}" type="pres">
      <dgm:prSet presAssocID="{7A7D8870-CDE5-4FA4-9674-463BFC2C4FA3}" presName="parTxOnly" presStyleLbl="node1" presStyleIdx="1" presStyleCnt="2" custLinFactNeighborX="35557" custLinFactNeighborY="-1276">
        <dgm:presLayoutVars>
          <dgm:chMax val="0"/>
          <dgm:chPref val="0"/>
          <dgm:bulletEnabled val="1"/>
        </dgm:presLayoutVars>
      </dgm:prSet>
      <dgm:spPr/>
    </dgm:pt>
  </dgm:ptLst>
  <dgm:cxnLst>
    <dgm:cxn modelId="{1AAE5410-BE68-436C-BB04-ADA3E573CC47}" srcId="{A11D6880-2385-444F-9096-C4B3C3AEDF63}" destId="{7078CF98-E5D5-49BB-A1B7-FC0FA38EA38B}" srcOrd="0" destOrd="0" parTransId="{94E4BA7B-3B87-426F-8681-314EFAD07C0B}" sibTransId="{948D81D0-D84D-45C8-89A5-9B54164C2204}"/>
    <dgm:cxn modelId="{58DD912E-199C-471E-8FF1-80E6B325BC8F}" type="presOf" srcId="{A11D6880-2385-444F-9096-C4B3C3AEDF63}" destId="{28ED8307-8FF9-4C46-88F8-2A864A884272}" srcOrd="0" destOrd="0" presId="urn:microsoft.com/office/officeart/2005/8/layout/chevron1"/>
    <dgm:cxn modelId="{F2268F49-2105-470D-9ABD-DD486755E83A}" type="presOf" srcId="{7A7D8870-CDE5-4FA4-9674-463BFC2C4FA3}" destId="{0672DC38-8953-475E-A142-41D2F9831691}" srcOrd="0" destOrd="0" presId="urn:microsoft.com/office/officeart/2005/8/layout/chevron1"/>
    <dgm:cxn modelId="{FCF4F38C-C8FC-4635-AFED-B521F66BD836}" type="presOf" srcId="{7078CF98-E5D5-49BB-A1B7-FC0FA38EA38B}" destId="{15086573-1C55-40FB-9ADC-BBA1A5C2470F}" srcOrd="0" destOrd="0" presId="urn:microsoft.com/office/officeart/2005/8/layout/chevron1"/>
    <dgm:cxn modelId="{6CF9E4BD-0B2A-46C8-9E07-929F52B17E67}" srcId="{A11D6880-2385-444F-9096-C4B3C3AEDF63}" destId="{7A7D8870-CDE5-4FA4-9674-463BFC2C4FA3}" srcOrd="1" destOrd="0" parTransId="{0B5996DF-1380-4E18-B7C1-33B0C9DDCD0C}" sibTransId="{B5E3CE6C-7424-4D8C-B831-7D6DF6C5A48E}"/>
    <dgm:cxn modelId="{C8C2D37B-9DC4-4920-BE97-CD7A6F23A5F6}" type="presParOf" srcId="{28ED8307-8FF9-4C46-88F8-2A864A884272}" destId="{15086573-1C55-40FB-9ADC-BBA1A5C2470F}" srcOrd="0" destOrd="0" presId="urn:microsoft.com/office/officeart/2005/8/layout/chevron1"/>
    <dgm:cxn modelId="{00D97613-C163-4D9E-B3C8-99BCB1B41FFB}" type="presParOf" srcId="{28ED8307-8FF9-4C46-88F8-2A864A884272}" destId="{D1ABB2B1-3F0A-4B43-9FC6-4281575FB457}" srcOrd="1" destOrd="0" presId="urn:microsoft.com/office/officeart/2005/8/layout/chevron1"/>
    <dgm:cxn modelId="{274BB7A1-B1ED-433C-96FA-12125B253884}" type="presParOf" srcId="{28ED8307-8FF9-4C46-88F8-2A864A884272}" destId="{0672DC38-8953-475E-A142-41D2F9831691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9A608F-B5CA-4702-BEB4-9A3F7155CB1E}">
      <dsp:nvSpPr>
        <dsp:cNvPr id="0" name=""/>
        <dsp:cNvSpPr/>
      </dsp:nvSpPr>
      <dsp:spPr>
        <a:xfrm>
          <a:off x="0" y="119877"/>
          <a:ext cx="5532226" cy="4212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cap="all" baseline="0" dirty="0">
              <a:solidFill>
                <a:schemeClr val="accent2">
                  <a:lumMod val="75000"/>
                </a:schemeClr>
              </a:solidFill>
            </a:rPr>
            <a:t>Целевая группа</a:t>
          </a:r>
        </a:p>
      </dsp:txBody>
      <dsp:txXfrm>
        <a:off x="20561" y="140438"/>
        <a:ext cx="5491104" cy="380078"/>
      </dsp:txXfrm>
    </dsp:sp>
    <dsp:sp modelId="{1B8B6EB1-B0B9-45E1-836A-FE7AAB956573}">
      <dsp:nvSpPr>
        <dsp:cNvPr id="0" name=""/>
        <dsp:cNvSpPr/>
      </dsp:nvSpPr>
      <dsp:spPr>
        <a:xfrm>
          <a:off x="0" y="541077"/>
          <a:ext cx="5532226" cy="726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648" tIns="22860" rIns="128016" bIns="22860" numCol="1" spcCol="1270" anchor="t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а с инвалидностью, ОВЗ</a:t>
          </a:r>
          <a:endParaRPr lang="ru-RU" sz="1400" kern="1200" dirty="0">
            <a:solidFill>
              <a:schemeClr val="accent1">
                <a:lumMod val="50000"/>
              </a:schemeClr>
            </a:solidFill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В крае 90 тыс. человек с инвалидностью, ОВЗ 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40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(3,2 % из них вовлечены в занятия АФК)</a:t>
          </a:r>
        </a:p>
      </dsp:txBody>
      <dsp:txXfrm>
        <a:off x="0" y="541077"/>
        <a:ext cx="5532226" cy="726570"/>
      </dsp:txXfrm>
    </dsp:sp>
    <dsp:sp modelId="{CBB430AF-EE63-43AB-BCE2-AA484B7B6488}">
      <dsp:nvSpPr>
        <dsp:cNvPr id="0" name=""/>
        <dsp:cNvSpPr/>
      </dsp:nvSpPr>
      <dsp:spPr>
        <a:xfrm>
          <a:off x="0" y="1267648"/>
          <a:ext cx="5532226" cy="4212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cap="all" baseline="0" dirty="0">
              <a:solidFill>
                <a:schemeClr val="accent2">
                  <a:lumMod val="75000"/>
                </a:schemeClr>
              </a:solidFill>
            </a:rPr>
            <a:t>Проблема</a:t>
          </a:r>
          <a:r>
            <a:rPr lang="ru-RU" sz="1800" kern="1200" dirty="0"/>
            <a:t> </a:t>
          </a:r>
        </a:p>
      </dsp:txBody>
      <dsp:txXfrm>
        <a:off x="20561" y="1288209"/>
        <a:ext cx="5491104" cy="380078"/>
      </dsp:txXfrm>
    </dsp:sp>
    <dsp:sp modelId="{5EB31B76-3FB2-4DB8-B97B-F17D6D06E022}">
      <dsp:nvSpPr>
        <dsp:cNvPr id="0" name=""/>
        <dsp:cNvSpPr/>
      </dsp:nvSpPr>
      <dsp:spPr>
        <a:xfrm>
          <a:off x="0" y="1688848"/>
          <a:ext cx="5532226" cy="13413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648" tIns="22860" rIns="128016" bIns="22860" numCol="1" spcCol="1270" anchor="t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Низкий охват адаптивной физкультурой и спортом лиц с инвалидностью, ОВЗ</a:t>
          </a:r>
          <a:endParaRPr lang="ru-RU" sz="1400" b="1" kern="1200" dirty="0">
            <a:solidFill>
              <a:schemeClr val="accent1">
                <a:lumMod val="50000"/>
              </a:schemeClr>
            </a:solidFill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а с инвалидностью, ОВЗ не информированы о возможностях адаптивных спортивных игр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В регионе отсутствуют условия для занятий адаптивными спортивными играми</a:t>
          </a:r>
        </a:p>
      </dsp:txBody>
      <dsp:txXfrm>
        <a:off x="0" y="1688848"/>
        <a:ext cx="5532226" cy="1341360"/>
      </dsp:txXfrm>
    </dsp:sp>
    <dsp:sp modelId="{CBBDF8D6-08CC-4DC0-9786-D0E7F3526719}">
      <dsp:nvSpPr>
        <dsp:cNvPr id="0" name=""/>
        <dsp:cNvSpPr/>
      </dsp:nvSpPr>
      <dsp:spPr>
        <a:xfrm>
          <a:off x="0" y="3030207"/>
          <a:ext cx="5532226" cy="4212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cap="all" baseline="0" dirty="0">
              <a:solidFill>
                <a:schemeClr val="accent2">
                  <a:lumMod val="75000"/>
                </a:schemeClr>
              </a:solidFill>
            </a:rPr>
            <a:t>Риски</a:t>
          </a:r>
        </a:p>
      </dsp:txBody>
      <dsp:txXfrm>
        <a:off x="20561" y="3050768"/>
        <a:ext cx="5491104" cy="380078"/>
      </dsp:txXfrm>
    </dsp:sp>
    <dsp:sp modelId="{F5629DA8-7A62-4FE7-A29F-FBD30087ECC6}">
      <dsp:nvSpPr>
        <dsp:cNvPr id="0" name=""/>
        <dsp:cNvSpPr/>
      </dsp:nvSpPr>
      <dsp:spPr>
        <a:xfrm>
          <a:off x="0" y="3451408"/>
          <a:ext cx="5532226" cy="4843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5648" tIns="22860" rIns="128016" bIns="22860" numCol="1" spcCol="1270" anchor="t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Риск ослабления здоровья лиц с инвалидностью, ОВЗ</a:t>
          </a:r>
          <a:endParaRPr lang="ru-RU" sz="1400" kern="1200" dirty="0">
            <a:solidFill>
              <a:schemeClr val="accent1">
                <a:lumMod val="50000"/>
              </a:schemeClr>
            </a:solidFill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lr>
              <a:schemeClr val="accent2">
                <a:lumMod val="75000"/>
              </a:schemeClr>
            </a:buClr>
            <a:buFont typeface="Wingdings" panose="05000000000000000000" pitchFamily="2" charset="2"/>
            <a:buChar char="q"/>
          </a:pPr>
          <a:r>
            <a:rPr lang="ru-RU" sz="14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Риск социальной изоляции лиц с инвалидностью, ОВЗ</a:t>
          </a:r>
        </a:p>
      </dsp:txBody>
      <dsp:txXfrm>
        <a:off x="0" y="3451408"/>
        <a:ext cx="5532226" cy="4843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4B4A3E-FE81-4885-863C-119F66C58DCD}">
      <dsp:nvSpPr>
        <dsp:cNvPr id="0" name=""/>
        <dsp:cNvSpPr/>
      </dsp:nvSpPr>
      <dsp:spPr>
        <a:xfrm>
          <a:off x="0" y="173036"/>
          <a:ext cx="5038792" cy="514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cap="all" baseline="0" dirty="0">
              <a:solidFill>
                <a:schemeClr val="accent2">
                  <a:lumMod val="75000"/>
                </a:schemeClr>
              </a:solidFill>
            </a:rPr>
            <a:t>Необходимо</a:t>
          </a:r>
        </a:p>
      </dsp:txBody>
      <dsp:txXfrm>
        <a:off x="25130" y="198166"/>
        <a:ext cx="4988532" cy="464540"/>
      </dsp:txXfrm>
    </dsp:sp>
    <dsp:sp modelId="{27929397-2448-45EE-8908-A586EC10946D}">
      <dsp:nvSpPr>
        <dsp:cNvPr id="0" name=""/>
        <dsp:cNvSpPr/>
      </dsp:nvSpPr>
      <dsp:spPr>
        <a:xfrm>
          <a:off x="0" y="687836"/>
          <a:ext cx="5038792" cy="10701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982" tIns="27940" rIns="156464" bIns="27940" numCol="1" spcCol="1270" anchor="t" anchorCtr="0">
          <a:noAutofit/>
        </a:bodyPr>
        <a:lstStyle/>
        <a:p>
          <a:pPr marL="171450" lvl="1" indent="-171450" algn="just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70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Создать </a:t>
          </a:r>
          <a:r>
            <a:rPr lang="ru-RU" sz="17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региональный ресурсный центр </a:t>
          </a:r>
          <a:r>
            <a:rPr lang="ru-RU" sz="170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адаптивных спортивных игр </a:t>
          </a:r>
          <a:endParaRPr lang="ru-RU" sz="1700" kern="1200" dirty="0">
            <a:solidFill>
              <a:schemeClr val="accent1">
                <a:lumMod val="50000"/>
              </a:schemeClr>
            </a:solidFill>
          </a:endParaRPr>
        </a:p>
        <a:p>
          <a:pPr marL="171450" lvl="1" indent="-171450" algn="just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ru-RU" sz="1700" b="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Создать </a:t>
          </a:r>
          <a:r>
            <a:rPr lang="ru-RU" sz="17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сеть муниципальных центров </a:t>
          </a:r>
          <a:r>
            <a:rPr lang="ru-RU" sz="1700" b="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адаптивных спортивных игр </a:t>
          </a:r>
          <a:endParaRPr lang="ru-RU" sz="1700" b="0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0" y="687836"/>
        <a:ext cx="5038792" cy="1070190"/>
      </dsp:txXfrm>
    </dsp:sp>
    <dsp:sp modelId="{704A2C2D-2BF7-44AB-929B-28C7D36DFCF0}">
      <dsp:nvSpPr>
        <dsp:cNvPr id="0" name=""/>
        <dsp:cNvSpPr/>
      </dsp:nvSpPr>
      <dsp:spPr>
        <a:xfrm>
          <a:off x="0" y="1758027"/>
          <a:ext cx="5038792" cy="514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cap="all" baseline="0" dirty="0">
              <a:solidFill>
                <a:schemeClr val="accent2">
                  <a:lumMod val="75000"/>
                </a:schemeClr>
              </a:solidFill>
            </a:rPr>
            <a:t>Эффекты</a:t>
          </a:r>
        </a:p>
      </dsp:txBody>
      <dsp:txXfrm>
        <a:off x="25130" y="1783157"/>
        <a:ext cx="4988532" cy="464540"/>
      </dsp:txXfrm>
    </dsp:sp>
    <dsp:sp modelId="{8B7DF549-EF4D-43C7-9BDE-3578608E461E}">
      <dsp:nvSpPr>
        <dsp:cNvPr id="0" name=""/>
        <dsp:cNvSpPr/>
      </dsp:nvSpPr>
      <dsp:spPr>
        <a:xfrm>
          <a:off x="0" y="2272827"/>
          <a:ext cx="5038792" cy="1593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982" tIns="27940" rIns="156464" bIns="27940" numCol="1" spcCol="1270" anchor="t" anchorCtr="0">
          <a:noAutofit/>
        </a:bodyPr>
        <a:lstStyle/>
        <a:p>
          <a:pPr marL="171450" lvl="1" indent="-171450" algn="just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7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Повышение качества жизни </a:t>
          </a:r>
          <a:r>
            <a:rPr lang="ru-RU" sz="170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не только целевой группы, но и членов их семей и общества </a:t>
          </a:r>
        </a:p>
        <a:p>
          <a:pPr marL="171450" lvl="1" indent="-171450" algn="just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70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Расширение возможностей для </a:t>
          </a:r>
          <a:r>
            <a:rPr lang="ru-RU" sz="1700" b="1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оздоровления и конструктивной коммуникации </a:t>
          </a:r>
          <a:r>
            <a:rPr lang="ru-RU" sz="1700" b="0" kern="1200" dirty="0">
              <a:solidFill>
                <a:schemeClr val="accent1">
                  <a:lumMod val="50000"/>
                </a:schemeClr>
              </a:solidFill>
              <a:latin typeface="Gilroy Light"/>
            </a:rPr>
            <a:t>лиц с инвалидностью, ОВЗ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ru-RU" sz="1700" kern="1200" dirty="0"/>
        </a:p>
      </dsp:txBody>
      <dsp:txXfrm>
        <a:off x="0" y="2272827"/>
        <a:ext cx="5038792" cy="15939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221B38-3919-4EDD-9E7F-FDF45AF40EDA}">
      <dsp:nvSpPr>
        <dsp:cNvPr id="0" name=""/>
        <dsp:cNvSpPr/>
      </dsp:nvSpPr>
      <dsp:spPr>
        <a:xfrm>
          <a:off x="0" y="7368"/>
          <a:ext cx="1479577" cy="981998"/>
        </a:xfrm>
        <a:prstGeom prst="homePlate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 dirty="0">
              <a:solidFill>
                <a:schemeClr val="accent2">
                  <a:lumMod val="75000"/>
                </a:schemeClr>
              </a:solidFill>
            </a:rPr>
            <a:t>2022</a:t>
          </a:r>
        </a:p>
      </dsp:txBody>
      <dsp:txXfrm>
        <a:off x="0" y="7368"/>
        <a:ext cx="1234078" cy="981998"/>
      </dsp:txXfrm>
    </dsp:sp>
    <dsp:sp modelId="{483A92AE-AE94-46EC-A9BF-2F417B9E0DA2}">
      <dsp:nvSpPr>
        <dsp:cNvPr id="0" name=""/>
        <dsp:cNvSpPr/>
      </dsp:nvSpPr>
      <dsp:spPr>
        <a:xfrm>
          <a:off x="1059110" y="33155"/>
          <a:ext cx="2454996" cy="981998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Создание НКО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«РЦАСИ»</a:t>
          </a:r>
        </a:p>
      </dsp:txBody>
      <dsp:txXfrm>
        <a:off x="1550109" y="33155"/>
        <a:ext cx="1472998" cy="981998"/>
      </dsp:txXfrm>
    </dsp:sp>
    <dsp:sp modelId="{A6FEC4CA-A770-4E50-9436-6CD08743675E}">
      <dsp:nvSpPr>
        <dsp:cNvPr id="0" name=""/>
        <dsp:cNvSpPr/>
      </dsp:nvSpPr>
      <dsp:spPr>
        <a:xfrm>
          <a:off x="3017279" y="31225"/>
          <a:ext cx="2454996" cy="985504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Формирование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штата</a:t>
          </a:r>
        </a:p>
      </dsp:txBody>
      <dsp:txXfrm>
        <a:off x="3510031" y="31225"/>
        <a:ext cx="1469492" cy="985504"/>
      </dsp:txXfrm>
    </dsp:sp>
    <dsp:sp modelId="{001FDC29-14AF-4690-BB59-7D2DDB711586}">
      <dsp:nvSpPr>
        <dsp:cNvPr id="0" name=""/>
        <dsp:cNvSpPr/>
      </dsp:nvSpPr>
      <dsp:spPr>
        <a:xfrm>
          <a:off x="4922395" y="43918"/>
          <a:ext cx="2454996" cy="981998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Подготовка помещения для игр</a:t>
          </a:r>
        </a:p>
      </dsp:txBody>
      <dsp:txXfrm>
        <a:off x="5413394" y="43918"/>
        <a:ext cx="1472998" cy="981998"/>
      </dsp:txXfrm>
    </dsp:sp>
    <dsp:sp modelId="{A268F8A5-EDEF-4D89-9421-CD38901D368B}">
      <dsp:nvSpPr>
        <dsp:cNvPr id="0" name=""/>
        <dsp:cNvSpPr/>
      </dsp:nvSpPr>
      <dsp:spPr>
        <a:xfrm>
          <a:off x="6886392" y="43918"/>
          <a:ext cx="2454996" cy="981998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Разработка и реализация плана работы</a:t>
          </a:r>
        </a:p>
      </dsp:txBody>
      <dsp:txXfrm>
        <a:off x="7377391" y="43918"/>
        <a:ext cx="1472998" cy="981998"/>
      </dsp:txXfrm>
    </dsp:sp>
    <dsp:sp modelId="{A2699AFF-8AD5-461E-B54C-5AB771927CB1}">
      <dsp:nvSpPr>
        <dsp:cNvPr id="0" name=""/>
        <dsp:cNvSpPr/>
      </dsp:nvSpPr>
      <dsp:spPr>
        <a:xfrm>
          <a:off x="8850390" y="43918"/>
          <a:ext cx="2454996" cy="981998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75000"/>
                </a:schemeClr>
              </a:solidFill>
            </a:rPr>
            <a:t>Издание учебно-методических пособий </a:t>
          </a:r>
        </a:p>
      </dsp:txBody>
      <dsp:txXfrm>
        <a:off x="9341389" y="43918"/>
        <a:ext cx="1472998" cy="9819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086573-1C55-40FB-9ADC-BBA1A5C2470F}">
      <dsp:nvSpPr>
        <dsp:cNvPr id="0" name=""/>
        <dsp:cNvSpPr/>
      </dsp:nvSpPr>
      <dsp:spPr>
        <a:xfrm>
          <a:off x="48696" y="0"/>
          <a:ext cx="2285208" cy="633187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b="1" kern="1200" dirty="0">
              <a:solidFill>
                <a:schemeClr val="accent2">
                  <a:lumMod val="75000"/>
                </a:schemeClr>
              </a:solidFill>
            </a:rPr>
            <a:t>2023</a:t>
          </a:r>
        </a:p>
      </dsp:txBody>
      <dsp:txXfrm>
        <a:off x="365290" y="0"/>
        <a:ext cx="1652021" cy="633187"/>
      </dsp:txXfrm>
    </dsp:sp>
    <dsp:sp modelId="{0672DC38-8953-475E-A142-41D2F9831691}">
      <dsp:nvSpPr>
        <dsp:cNvPr id="0" name=""/>
        <dsp:cNvSpPr/>
      </dsp:nvSpPr>
      <dsp:spPr>
        <a:xfrm>
          <a:off x="1708405" y="0"/>
          <a:ext cx="5832142" cy="633187"/>
        </a:xfrm>
        <a:prstGeom prst="chevron">
          <a:avLst/>
        </a:prstGeom>
        <a:solidFill>
          <a:schemeClr val="bg1"/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28004" rIns="28004" bIns="2800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ru-RU" sz="21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Times New Roman" panose="02020603050405020304" pitchFamily="18" charset="0"/>
              <a:sym typeface="Arial"/>
            </a:rPr>
            <a:t>Тиражирование в других регионах, участие во всероссийских играх</a:t>
          </a:r>
          <a:endParaRPr lang="ru-RU" sz="2100" b="1" kern="1200" dirty="0">
            <a:solidFill>
              <a:schemeClr val="accent5">
                <a:lumMod val="75000"/>
              </a:schemeClr>
            </a:solidFill>
          </a:endParaRPr>
        </a:p>
      </dsp:txBody>
      <dsp:txXfrm>
        <a:off x="2024999" y="0"/>
        <a:ext cx="5198955" cy="6331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69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3" name="Google Shape;3;n"/>
          <p:cNvSpPr>
            <a:spLocks noChangeAspect="1" noRot="1" noGrp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4873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lstStyle>
            <a:lvl1pPr algn="l" indent="-298450" lvl="0" marL="4572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indent="-298450" lvl="1" marL="9144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indent="-298450" lvl="2" marL="13716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indent="-298450" lvl="3" marL="18288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indent="-298450" lvl="4" marL="22860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indent="-298450" lvl="5" marL="27432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indent="-298450" lvl="6" marL="32004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indent="-298450" lvl="7" marL="36576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indent="-298450" lvl="8" marL="411480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b="0" cap="none" sz="11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</p:spTree>
  </p:cSld>
  <p:clrMap accent1="accent1" accent2="accent2" accent3="accent3" accent4="accent4" accent5="accent5" accent6="accent6" bg1="lt1" bg2="dk2" tx1="dk1" tx2="lt2" hlink="hlink" folHlink="folHlink"/>
  <p:notesStyle>
    <a:defPPr algn="l" lvl="0" marR="0" rtl="0">
      <a:lnSpc>
        <a:spcPct val="100000"/>
      </a:lnSpc>
      <a:spcBef>
        <a:spcPts val="0"/>
      </a:spcBef>
      <a:spcAft>
        <a:spcPts val="0"/>
      </a:spcAft>
    </a:defPPr>
    <a:lvl1pPr algn="l" lvl="0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1pPr>
    <a:lvl2pPr algn="l" lvl="1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2pPr>
    <a:lvl3pPr algn="l" lvl="2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3pPr>
    <a:lvl4pPr algn="l" lvl="3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4pPr>
    <a:lvl5pPr algn="l" lvl="4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5pPr>
    <a:lvl6pPr algn="l" lvl="5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6pPr>
    <a:lvl7pPr algn="l" lvl="6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7pPr>
    <a:lvl8pPr algn="l" lvl="7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8pPr>
    <a:lvl9pPr algn="l" lvl="8" marR="0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b="0" cap="none" sz="1400" i="0" strike="noStrike" u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</Relationships>
</file>

<file path=ppt/notesSlides/_rels/notesSlide2.xml.rels><?xml version="1.0" encoding="UTF-8" standalone="yes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</Relationships>
</file>

<file path=ppt/notesSlides/_rels/notesSlide3.xml.rels><?xml version="1.0" encoding="UTF-8" standalone="yes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</Relationships>
</file>

<file path=ppt/notesSlides/_rels/notesSlide4.xml.rels><?xml version="1.0" encoding="UTF-8" standalone="yes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</Relationships>
</file>

<file path=ppt/notesSlides/_rels/notesSlide5.xml.rels><?xml version="1.0" encoding="UTF-8" standalone="yes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3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0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  <p:sp>
        <p:nvSpPr>
          <p:cNvPr id="1048591" name="Google Shape;82;p1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27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1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  <p:sp>
        <p:nvSpPr>
          <p:cNvPr id="1048602" name="Google Shape;136;p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3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8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048619" name="Google Shape;136;p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6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6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  <p:sp>
        <p:nvSpPr>
          <p:cNvPr id="1048627" name="Google Shape;136;p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PhAnim="0" showMasterSp="0">
  <p:cSld>
    <p:spTree>
      <p:nvGrpSpPr>
        <p:cNvPr id="49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0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/>
          <a:noFill/>
          <a:ln>
            <a:noFill/>
          </a:ln>
        </p:spPr>
        <p:txBody>
          <a:bodyPr anchor="t" anchorCtr="0" bIns="91425" lIns="91425" rIns="91425" spcFirstLastPara="1" tIns="91425" wrap="square">
            <a:noAutofit/>
          </a:bodyPr>
          <a:p>
            <a:pPr algn="l" indent="0" lvl="0" mar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</a:p>
        </p:txBody>
      </p:sp>
      <p:sp>
        <p:nvSpPr>
          <p:cNvPr id="1048631" name="Google Shape;136;p8:notes"/>
          <p:cNvSpPr>
            <a:spLocks noChangeAspect="1" noRot="1" noGrp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ah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TITLE">
    <p:spTree>
      <p:nvGrpSpPr>
        <p:cNvPr id="20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1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ctr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82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ctr" lv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algn="ctr" lv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algn="ctr" lvl="2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algn="ctr" lvl="3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algn="ctr" lvl="4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algn="ctr" lvl="5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algn="ctr" lvl="6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algn="ctr" lvl="7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algn="ctr" lvl="8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/>
        </p:txBody>
      </p:sp>
      <p:sp>
        <p:nvSpPr>
          <p:cNvPr id="1048583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84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85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63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98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9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700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01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02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24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2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93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594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95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596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5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5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ctr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36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ctr" lv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algn="ctr" lv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algn="ctr" lvl="2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algn="ctr" lvl="3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algn="ctr" lvl="4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algn="ctr" lvl="5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algn="ctr" lvl="6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algn="ctr" lvl="7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algn="ctr" lvl="8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/>
        </p:txBody>
      </p:sp>
      <p:sp>
        <p:nvSpPr>
          <p:cNvPr id="1048637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38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39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40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8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09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10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11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12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56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2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3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/>
        </p:txBody>
      </p:sp>
      <p:sp>
        <p:nvSpPr>
          <p:cNvPr id="1048664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5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6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55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56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57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58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59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0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1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59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 sz="24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 sz="20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 sz="18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9pPr>
          </a:lstStyle>
          <a:p/>
        </p:txBody>
      </p:sp>
      <p:sp>
        <p:nvSpPr>
          <p:cNvPr id="104867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8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 sz="24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 sz="20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 sz="18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9pPr>
          </a:lstStyle>
          <a:p/>
        </p:txBody>
      </p:sp>
      <p:sp>
        <p:nvSpPr>
          <p:cNvPr id="104868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8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8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8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58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3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4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5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6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50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2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33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34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57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7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68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4318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algn="l" indent="-4064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algn="l" indent="-3810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algn="l" indent="-355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algn="l" indent="-355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algn="l" indent="-355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algn="l" indent="-355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algn="l" indent="-355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algn="l" indent="-355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/>
        </p:txBody>
      </p:sp>
      <p:sp>
        <p:nvSpPr>
          <p:cNvPr id="1048669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/>
        </p:txBody>
      </p:sp>
      <p:sp>
        <p:nvSpPr>
          <p:cNvPr id="1048670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1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72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6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8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89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/>
        </p:txBody>
      </p:sp>
      <p:sp>
        <p:nvSpPr>
          <p:cNvPr id="1048690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1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2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52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0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41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lvl="0" marR="0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b="0" cap="none" sz="32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b="0" cap="none" sz="2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b="0" cap="none" sz="2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642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/>
        </p:txBody>
      </p:sp>
      <p:sp>
        <p:nvSpPr>
          <p:cNvPr id="1048643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44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45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53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46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47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48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49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50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54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51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52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53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54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55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64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03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04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705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706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07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08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65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09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10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 sz="24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 sz="20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 sz="18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9pPr>
          </a:lstStyle>
          <a:p/>
        </p:txBody>
      </p:sp>
      <p:sp>
        <p:nvSpPr>
          <p:cNvPr id="1048711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712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b="1" sz="24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b="1" sz="20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b="1" sz="18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b="1" sz="1600"/>
            </a:lvl9pPr>
          </a:lstStyle>
          <a:p/>
        </p:txBody>
      </p:sp>
      <p:sp>
        <p:nvSpPr>
          <p:cNvPr id="1048713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714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15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16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66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17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18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19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20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60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5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86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87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67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21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22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4318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algn="l" indent="-4064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algn="l" indent="-3810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algn="l" indent="-355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algn="l" indent="-355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algn="l" indent="-355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algn="l" indent="-355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algn="l" indent="-355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algn="l" indent="-355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/>
        </p:txBody>
      </p:sp>
      <p:sp>
        <p:nvSpPr>
          <p:cNvPr id="1048723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/>
        </p:txBody>
      </p:sp>
      <p:sp>
        <p:nvSpPr>
          <p:cNvPr id="1048724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25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26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68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27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28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lvl="0" marR="0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b="0" cap="none" sz="32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b="0" cap="none" sz="2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b="0" cap="none" sz="2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729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2286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algn="l" indent="-2286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algn="l" indent="-2286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algn="l" indent="-2286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algn="l" indent="-2286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algn="l" indent="-2286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algn="l" indent="-2286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algn="l" indent="-2286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algn="l" indent="-2286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/>
        </p:txBody>
      </p:sp>
      <p:sp>
        <p:nvSpPr>
          <p:cNvPr id="1048730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31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732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62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93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4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342900" lvl="0" marL="4572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1pPr>
            <a:lvl2pPr algn="l" indent="-342900" lvl="1" marL="914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2pPr>
            <a:lvl3pPr algn="l" indent="-342900" lvl="2" marL="1371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3pPr>
            <a:lvl4pPr algn="l" indent="-342900" lvl="3" marL="1828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4pPr>
            <a:lvl5pPr algn="l" indent="-342900" lvl="4" marL="22860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5pPr>
            <a:lvl6pPr algn="l" indent="-342900" lvl="5" marL="27432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6pPr>
            <a:lvl7pPr algn="l" indent="-342900" lvl="6" marL="32004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7pPr>
            <a:lvl8pPr algn="l" indent="-342900" lvl="7" marL="3657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8pPr>
            <a:lvl9pPr algn="l" indent="-342900" lvl="8" marL="41148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</a:lvl9pPr>
          </a:lstStyle>
          <a:p/>
        </p:txBody>
      </p:sp>
      <p:sp>
        <p:nvSpPr>
          <p:cNvPr id="1048695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6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1pPr>
            <a:lvl2pPr algn="l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2pPr>
            <a:lvl3pPr algn="l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3pPr>
            <a:lvl4pPr algn="l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4pPr>
            <a:lvl5pPr algn="l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5pPr>
            <a:lvl6pPr algn="l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6pPr>
            <a:lvl7pPr algn="l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7pPr>
            <a:lvl8pPr algn="l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8pPr>
            <a:lvl9pPr algn="l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lvl9pPr>
          </a:lstStyle>
          <a:p/>
        </p:txBody>
      </p:sp>
      <p:sp>
        <p:nvSpPr>
          <p:cNvPr id="1048697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tags" Target="../tags/tag1.xml"/><Relationship Id="rId13" Type="http://schemas.openxmlformats.org/officeDocument/2006/relationships/oleObject" Target="../embeddings/oleObject0.bin"/><Relationship Id="rId14" Type="http://schemas.openxmlformats.org/officeDocument/2006/relationships/image" Target="../media/image1.emf"/><Relationship Id="rId15" Type="http://schemas.openxmlformats.org/officeDocument/2006/relationships/theme" Target="../theme/theme1.xml"/></Relationships>
</file>

<file path=ppt/slideMasters/_rels/slideMaster2.xml.rels><?xml version="1.0" encoding="UTF-8" standalone="yes"?>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8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4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H="595" imgW="592" progId="TCLayout.ActiveDocument.1">
                  <p:embed/>
                </p:oleObj>
              </mc:Choice>
              <mc:Fallback>
                <p:oleObj name="Слайд think-cell" r:id="rId13" imgH="595" imgW="592" progId="TCLayout.ActiveDocument.1">
                  <p:embed/>
                  <p:pic>
                    <p:nvPicPr>
                      <p:cNvPr id="2097152" name="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7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b="0" cap="none" sz="4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57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406400" lvl="0" marL="457200" marR="0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b="0" cap="none" sz="2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indent="-381000" lvl="1" marL="9144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b="0" cap="none" sz="2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indent="-355600" lvl="2" marL="13716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indent="-342900" lvl="3" marL="18288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indent="-342900" lvl="4" marL="22860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indent="-342900" lvl="5" marL="27432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indent="-342900" lvl="6" marL="32004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indent="-342900" lvl="7" marL="36576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indent="-342900" lvl="8" marL="41148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57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57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58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</a:p>
        </p:txBody>
      </p:sp>
    </p:spTree>
  </p:cSld>
  <p:clrMap accent1="accent1" accent2="accent2" accent3="accent3" accent4="accent4" accent5="accent5" accent6="accent6" bg1="lt1" bg2="dk2" tx1="dk1" tx2="lt2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dt="0" ftr="0" hdr="0" sldNum="0"/>
  <p:txStyles>
    <p:title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</p:bgPr>
    </p:bg>
    <p:spTree>
      <p:nvGrpSpPr>
        <p:cNvPr id="28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9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H="595" imgW="592" progId="TCLayout.ActiveDocument.1">
                  <p:embed/>
                </p:oleObj>
              </mc:Choice>
              <mc:Fallback>
                <p:oleObj name="Слайд think-cell" r:id="rId13" imgH="595" imgW="592" progId="TCLayout.ActiveDocument.1">
                  <p:embed/>
                  <p:pic>
                    <p:nvPicPr>
                      <p:cNvPr id="2097161" name="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03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rmAutofit/>
          </a:bodyPr>
          <a:lstStyle>
            <a:lvl1pPr algn="l" lv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b="0" cap="none" sz="4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604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lstStyle>
            <a:lvl1pPr algn="l" indent="-406400" lvl="0" marL="457200" marR="0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b="0" cap="none" sz="2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indent="-381000" lvl="1" marL="9144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b="0" cap="none" sz="24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indent="-355600" lvl="2" marL="13716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b="0" cap="none" sz="2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indent="-342900" lvl="3" marL="18288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indent="-342900" lvl="4" marL="22860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indent="-342900" lvl="5" marL="27432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indent="-342900" lvl="6" marL="32004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indent="-342900" lvl="7" marL="36576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indent="-342900" lvl="8" marL="4114800" marR="0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605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606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ctr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/>
        </p:txBody>
      </p:sp>
      <p:sp>
        <p:nvSpPr>
          <p:cNvPr id="1048607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/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>
            <a:lvl1pPr algn="r" indent="0" lvl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r" indent="0" lvl="1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r" indent="0" lvl="2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r" indent="0" lvl="3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r" indent="0" lvl="4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r" indent="0" lvl="5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r" indent="0" lvl="6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r" indent="0" lvl="7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r" indent="0" lvl="8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b="0" cap="none" sz="1200" i="0" strike="noStrike" u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t>‹#›</a:t>
            </a:fld>
          </a:p>
        </p:txBody>
      </p:sp>
    </p:spTree>
  </p:cSld>
  <p:clrMap accent1="accent1" accent2="accent2" accent3="accent3" accent4="accent4" accent5="accent5" accent6="accent6" bg1="lt1" bg2="dk2" tx1="dk1" tx2="lt2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dt="0" ftr="0" hdr="0" sldNum="0"/>
  <p:txStyles>
    <p:title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algn="l" lvl="0" marR="0" rtl="0">
        <a:lnSpc>
          <a:spcPct val="100000"/>
        </a:lnSpc>
        <a:spcBef>
          <a:spcPts val="0"/>
        </a:spcBef>
        <a:spcAft>
          <a:spcPts val="0"/>
        </a:spcAft>
      </a:defPPr>
      <a:lvl1pPr algn="l" lvl="0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algn="l" lvl="1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algn="l" lvl="2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algn="l" lvl="3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algn="l" lvl="4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algn="l" lvl="5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algn="l" lvl="6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algn="l" lvl="7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algn="l" lvl="8" marR="0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b="0" cap="none" sz="1400" i="0" strike="noStrike" u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oleObject" Target="../embeddings/oleObject2.bin"/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1.xml"/></Relationships>
</file>

<file path=ppt/slides/_rels/slide2.xml.rels><?xml version="1.0" encoding="UTF-8" standalone="yes"?>
<Relationships xmlns="http://schemas.openxmlformats.org/package/2006/relationships"><Relationship Id="rId1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3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6" Type="http://schemas.openxmlformats.org/officeDocument/2006/relationships/diagramLayout" Target="../diagrams/layout2.xml"/><Relationship Id="rId7" Type="http://schemas.openxmlformats.org/officeDocument/2006/relationships/diagramData" Target="../diagrams/data2.xml"/><Relationship Id="rId8" Type="http://schemas.microsoft.com/office/2007/relationships/diagramDrawing" Target="../diagrams/drawing2.xml"/><Relationship Id="rId9" Type="http://schemas.openxmlformats.org/officeDocument/2006/relationships/diagramColors" Target="../diagrams/colors2.xml"/><Relationship Id="rId10" Type="http://schemas.openxmlformats.org/officeDocument/2006/relationships/diagramQuickStyle" Target="../diagrams/quickStyle2.xml"/><Relationship Id="rId11" Type="http://schemas.openxmlformats.org/officeDocument/2006/relationships/tags" Target="../tags/tag4.xml"/><Relationship Id="rId12" Type="http://schemas.openxmlformats.org/officeDocument/2006/relationships/oleObject" Target="../embeddings/oleObject3.bin"/><Relationship Id="rId13" Type="http://schemas.openxmlformats.org/officeDocument/2006/relationships/image" Target="../media/image1.emf"/><Relationship Id="rId14" Type="http://schemas.openxmlformats.org/officeDocument/2006/relationships/image" Target="../media/image3.png"/><Relationship Id="rId15" Type="http://schemas.openxmlformats.org/officeDocument/2006/relationships/image" Target="../media/image4.png"/><Relationship Id="rId16" Type="http://schemas.openxmlformats.org/officeDocument/2006/relationships/slideLayout" Target="../slideLayouts/slideLayout11.xml"/><Relationship Id="rId17" Type="http://schemas.openxmlformats.org/officeDocument/2006/relationships/notesSlide" Target="../notesSlides/notesSlide2.xml"/></Relationships>
</file>

<file path=ppt/slides/_rels/slide3.xml.rels><?xml version="1.0" encoding="UTF-8" standalone="yes"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oleObject" Target="../embeddings/oleObject4.bin"/><Relationship Id="rId3" Type="http://schemas.openxmlformats.org/officeDocument/2006/relationships/image" Target="../media/image1.emf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slideLayout" Target="../slideLayouts/slideLayout13.xml"/><Relationship Id="rId7" Type="http://schemas.openxmlformats.org/officeDocument/2006/relationships/notesSlide" Target="../notesSlides/notesSlide3.xml"/></Relationships>
</file>

<file path=ppt/slides/_rels/slide4.xml.rels><?xml version="1.0" encoding="UTF-8" standalone="yes"?>
<Relationships xmlns="http://schemas.openxmlformats.org/package/2006/relationships"><Relationship Id="rId1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3" Type="http://schemas.microsoft.com/office/2007/relationships/diagramDrawing" Target="../diagrams/drawing3.xml"/><Relationship Id="rId4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6" Type="http://schemas.openxmlformats.org/officeDocument/2006/relationships/diagramLayout" Target="../diagrams/layout4.xml"/><Relationship Id="rId7" Type="http://schemas.openxmlformats.org/officeDocument/2006/relationships/diagramData" Target="../diagrams/data4.xml"/><Relationship Id="rId8" Type="http://schemas.microsoft.com/office/2007/relationships/diagramDrawing" Target="../diagrams/drawing4.xml"/><Relationship Id="rId9" Type="http://schemas.openxmlformats.org/officeDocument/2006/relationships/diagramColors" Target="../diagrams/colors4.xml"/><Relationship Id="rId10" Type="http://schemas.openxmlformats.org/officeDocument/2006/relationships/diagramQuickStyle" Target="../diagrams/quickStyle4.xml"/><Relationship Id="rId11" Type="http://schemas.openxmlformats.org/officeDocument/2006/relationships/tags" Target="../tags/tag6.xml"/><Relationship Id="rId12" Type="http://schemas.openxmlformats.org/officeDocument/2006/relationships/oleObject" Target="../embeddings/oleObject5.bin"/><Relationship Id="rId13" Type="http://schemas.openxmlformats.org/officeDocument/2006/relationships/image" Target="../media/image1.emf"/><Relationship Id="rId14" Type="http://schemas.openxmlformats.org/officeDocument/2006/relationships/image" Target="../media/image3.png"/><Relationship Id="rId15" Type="http://schemas.openxmlformats.org/officeDocument/2006/relationships/image" Target="../media/image4.png"/><Relationship Id="rId16" Type="http://schemas.openxmlformats.org/officeDocument/2006/relationships/slideLayout" Target="../slideLayouts/slideLayout13.xml"/><Relationship Id="rId17" Type="http://schemas.openxmlformats.org/officeDocument/2006/relationships/notesSlide" Target="../notesSlides/notesSlide4.xml"/></Relationships>
</file>

<file path=ppt/slides/_rels/slide5.xml.rels><?xml version="1.0" encoding="UTF-8" standalone="yes"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oleObject" Target="../embeddings/oleObject6.bin"/><Relationship Id="rId3" Type="http://schemas.openxmlformats.org/officeDocument/2006/relationships/image" Target="../media/image1.emf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slideLayout" Target="../slideLayouts/slideLayout13.xml"/><Relationship Id="rId7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5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" imgH="595" imgW="592" progId="TCLayout.ActiveDocument.1">
                  <p:embed/>
                </p:oleObj>
              </mc:Choice>
              <mc:Fallback>
                <p:oleObj name="Слайд think-cell" r:id="rId2" imgH="595" imgW="592" progId="TCLayout.ActiveDocument.1">
                  <p:embed/>
                  <p:pic>
                    <p:nvPicPr>
                      <p:cNvPr id="2097153" name="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86" name="Google Shape;84;p1"/>
          <p:cNvSpPr txBox="1">
            <a:spLocks noGrp="1"/>
          </p:cNvSpPr>
          <p:nvPr>
            <p:ph type="ctrTitle"/>
          </p:nvPr>
        </p:nvSpPr>
        <p:spPr>
          <a:xfrm>
            <a:off x="681858" y="3037278"/>
            <a:ext cx="11284772" cy="818521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algn="l" defTabSz="1161825" hangingPunct="0" lvl="0">
              <a:lnSpc>
                <a:spcPct val="100000"/>
              </a:lnSpc>
              <a:buClrTx/>
              <a:buSzTx/>
            </a:pPr>
            <a:br>
              <a:rPr b="1" cap="all" dirty="0" sz="40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br>
              <a:rPr b="1" cap="all" dirty="0" sz="40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b="1" cap="all" dirty="0" sz="36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ресурсный центр адаптивных спортивных игр</a:t>
            </a:r>
            <a:endParaRPr b="1" cap="all" dirty="0" sz="360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2097154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4"/>
          <a:stretch>
            <a:fillRect/>
          </a:stretch>
        </p:blipFill>
        <p:spPr>
          <a:xfrm>
            <a:off x="20105023" y="889971"/>
            <a:ext cx="3717608" cy="1417573"/>
          </a:xfrm>
          <a:prstGeom prst="rect"/>
          <a:ln w="12700">
            <a:miter lim="400000"/>
          </a:ln>
        </p:spPr>
      </p:pic>
      <p:pic>
        <p:nvPicPr>
          <p:cNvPr id="2097155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5"/>
          <a:stretch>
            <a:fillRect/>
          </a:stretch>
        </p:blipFill>
        <p:spPr>
          <a:xfrm>
            <a:off x="9838658" y="254465"/>
            <a:ext cx="2046224" cy="780252"/>
          </a:xfrm>
          <a:prstGeom prst="rect"/>
          <a:ln w="12700">
            <a:miter lim="400000"/>
          </a:ln>
        </p:spPr>
      </p:pic>
      <p:pic>
        <p:nvPicPr>
          <p:cNvPr id="2097156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6"/>
          <a:stretch>
            <a:fillRect/>
          </a:stretch>
        </p:blipFill>
        <p:spPr>
          <a:xfrm>
            <a:off x="404999" y="6178409"/>
            <a:ext cx="3445106" cy="472390"/>
          </a:xfrm>
          <a:prstGeom prst="rect"/>
          <a:ln w="12700">
            <a:miter lim="400000"/>
          </a:ln>
        </p:spPr>
      </p:pic>
      <p:sp>
        <p:nvSpPr>
          <p:cNvPr id="1048587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/>
          <a:ln w="12700">
            <a:miter lim="400000"/>
          </a:ln>
        </p:spPr>
        <p:txBody>
          <a:bodyPr bIns="0" lIns="0" rIns="0" tIns="0" wrap="square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dirty="0" sz="160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dirty="0" sz="160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dirty="0" sz="160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48588" name="TextBox 2"/>
          <p:cNvSpPr txBox="1"/>
          <p:nvPr/>
        </p:nvSpPr>
        <p:spPr>
          <a:xfrm>
            <a:off x="1043491" y="4801917"/>
            <a:ext cx="7347473" cy="307777"/>
          </a:xfrm>
          <a:prstGeom prst="rect"/>
          <a:noFill/>
        </p:spPr>
        <p:txBody>
          <a:bodyPr rtlCol="0" wrap="square">
            <a:spAutoFit/>
          </a:bodyPr>
          <a:p>
            <a:r>
              <a:rPr b="1" cap="all" dirty="0" lang="ru-RU">
                <a:solidFill>
                  <a:schemeClr val="accent2">
                    <a:lumMod val="75000"/>
                  </a:schemeClr>
                </a:solidFill>
                <a:latin typeface="Gilroy Light"/>
              </a:rPr>
              <a:t>Руководитель проекта: Сергей </a:t>
            </a:r>
            <a:r>
              <a:rPr b="1" cap="all" dirty="0" lang="ru-RU" err="1">
                <a:solidFill>
                  <a:schemeClr val="accent2">
                    <a:lumMod val="75000"/>
                  </a:schemeClr>
                </a:solidFill>
                <a:latin typeface="Gilroy Light"/>
              </a:rPr>
              <a:t>кохан</a:t>
            </a:r>
            <a:endParaRPr dirty="0" lang="ru-RU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097157" name="Рисунок 3"/>
          <p:cNvPicPr>
            <a:picLocks noChangeAspect="1"/>
          </p:cNvPicPr>
          <p:nvPr/>
        </p:nvPicPr>
        <p:blipFill>
          <a:blip xmlns:r="http://schemas.openxmlformats.org/officeDocument/2006/relationships" r:embed="rId7"/>
          <a:stretch>
            <a:fillRect/>
          </a:stretch>
        </p:blipFill>
        <p:spPr>
          <a:xfrm>
            <a:off x="753034" y="257284"/>
            <a:ext cx="1073180" cy="1275907"/>
          </a:xfrm>
          <a:prstGeom prst="rect"/>
        </p:spPr>
      </p:pic>
      <p:sp>
        <p:nvSpPr>
          <p:cNvPr id="1048589" name="Google Shape;84;p1"/>
          <p:cNvSpPr txBox="1"/>
          <p:nvPr/>
        </p:nvSpPr>
        <p:spPr>
          <a:xfrm>
            <a:off x="1865553" y="248188"/>
            <a:ext cx="6821247" cy="818521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lstStyle>
            <a:defPPr algn="l" lv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 lvl="0" marR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b="0" cap="none" sz="6000" i="0" strike="noStrike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lvl="1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lvl="2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lvl="3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lvl="4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algn="l" lvl="5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algn="l" lvl="6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algn="l" lvl="7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algn="l" lvl="8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b="0" cap="none" sz="1800" i="0" strike="noStrike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 defTabSz="1161825" hangingPunct="0">
              <a:lnSpc>
                <a:spcPct val="100000"/>
              </a:lnSpc>
              <a:buClrTx/>
              <a:buSzTx/>
            </a:pPr>
            <a:br>
              <a:rPr b="1" cap="all" dirty="0" sz="40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br>
              <a:rPr b="1" cap="all" dirty="0" sz="40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</a:br>
            <a:r>
              <a:rPr b="1" cap="all" dirty="0" sz="2400" lang="ru-RU">
                <a:solidFill>
                  <a:schemeClr val="accent1">
                    <a:lumMod val="50000"/>
                  </a:schemeClr>
                </a:solidFill>
                <a:latin typeface="Gilroy Light"/>
                <a:ea typeface="Gilroy Light"/>
                <a:cs typeface="Gilroy Light"/>
              </a:rPr>
              <a:t>Забайкальский край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25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06" name="Объект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2" imgH="595" imgW="592" progId="TCLayout.ActiveDocument.1">
                  <p:embed/>
                </p:oleObj>
              </mc:Choice>
              <mc:Fallback>
                <p:oleObj name="Слайд think-cell" r:id="rId12" imgH="595" imgW="592" progId="TCLayout.ActiveDocument.1">
                  <p:embed/>
                  <p:pic>
                    <p:nvPicPr>
                      <p:cNvPr id="2097158" name="Объект 1" hidden="1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597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defTabSz="1161825" hangingPunct="0" lvl="0">
              <a:lnSpc>
                <a:spcPct val="100000"/>
              </a:lnSpc>
              <a:buClrTx/>
              <a:buSzTx/>
            </a:pPr>
            <a:r>
              <a:rPr b="1" cap="all" dirty="0" sz="48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Проблема</a:t>
            </a:r>
            <a:endParaRPr b="1" cap="all" dirty="0" sz="480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048598" name="Google Shape;139;p8"/>
          <p:cNvSpPr txBox="1">
            <a:spLocks noGrp="1"/>
          </p:cNvSpPr>
          <p:nvPr>
            <p:ph type="body" idx="1"/>
          </p:nvPr>
        </p:nvSpPr>
        <p:spPr>
          <a:xfrm>
            <a:off x="994862" y="4298071"/>
            <a:ext cx="10633364" cy="1531027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dirty="0" sz="200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dirty="0" sz="2000">
              <a:solidFill>
                <a:srgbClr val="434343"/>
              </a:solidFill>
            </a:endParaRPr>
          </a:p>
        </p:txBody>
      </p:sp>
      <p:pic>
        <p:nvPicPr>
          <p:cNvPr id="2097159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14"/>
          <a:stretch>
            <a:fillRect/>
          </a:stretch>
        </p:blipFill>
        <p:spPr>
          <a:xfrm>
            <a:off x="9809776" y="424656"/>
            <a:ext cx="2046224" cy="780252"/>
          </a:xfrm>
          <a:prstGeom prst="rect"/>
          <a:ln w="12700">
            <a:miter lim="400000"/>
          </a:ln>
        </p:spPr>
      </p:pic>
      <p:pic>
        <p:nvPicPr>
          <p:cNvPr id="2097160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15"/>
          <a:stretch>
            <a:fillRect/>
          </a:stretch>
        </p:blipFill>
        <p:spPr>
          <a:xfrm>
            <a:off x="404999" y="6178409"/>
            <a:ext cx="3445106" cy="472390"/>
          </a:xfrm>
          <a:prstGeom prst="rect"/>
          <a:ln w="12700">
            <a:miter lim="400000"/>
          </a:ln>
        </p:spPr>
      </p:pic>
      <p:sp>
        <p:nvSpPr>
          <p:cNvPr id="1048599" name="Google Shape;300;p21"/>
          <p:cNvSpPr txBox="1"/>
          <p:nvPr/>
        </p:nvSpPr>
        <p:spPr>
          <a:xfrm>
            <a:off x="4629866" y="6291493"/>
            <a:ext cx="3425702" cy="246221"/>
          </a:xfrm>
          <a:prstGeom prst="rect"/>
          <a:ln w="12700">
            <a:miter lim="400000"/>
          </a:ln>
        </p:spPr>
        <p:txBody>
          <a:bodyPr bIns="0" lIns="0" rIns="0" tIns="0" wrap="square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dirty="0" sz="160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dirty="0" sz="160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dirty="0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145728" name="Google Shape;117;p5"/>
          <p:cNvCxnSpPr>
            <a:cxnSpLocks/>
          </p:cNvCxnSpPr>
          <p:nvPr/>
        </p:nvCxnSpPr>
        <p:spPr>
          <a:xfrm rot="10800000" flipH="1">
            <a:off x="336000" y="1271203"/>
            <a:ext cx="11520000" cy="15900"/>
          </a:xfrm>
          <a:prstGeom prst="straightConnector1"/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48600" name="TextBox 14"/>
          <p:cNvSpPr txBox="1"/>
          <p:nvPr/>
        </p:nvSpPr>
        <p:spPr>
          <a:xfrm>
            <a:off x="440681" y="5738223"/>
            <a:ext cx="11804072" cy="400110"/>
          </a:xfrm>
          <a:prstGeom prst="rect"/>
          <a:noFill/>
        </p:spPr>
        <p:txBody>
          <a:bodyPr rtlCol="0" wrap="square">
            <a:spAutoFit/>
          </a:bodyPr>
          <a:p>
            <a:pPr algn="ctr"/>
            <a:r>
              <a:rPr b="1" dirty="0" sz="2000" lang="ru-RU">
                <a:solidFill>
                  <a:schemeClr val="accent1">
                    <a:lumMod val="50000"/>
                  </a:schemeClr>
                </a:solidFill>
              </a:rPr>
              <a:t>Подобная ситуация в регионах ДФО, Восточной Сибири и отдаленных регионах России</a:t>
            </a:r>
          </a:p>
        </p:txBody>
      </p:sp>
      <p:graphicFrame>
        <p:nvGraphicFramePr>
          <p:cNvPr id="4194307" name="Схема 2"/>
          <p:cNvGraphicFramePr>
            <a:graphicFrameLocks/>
          </p:cNvGraphicFramePr>
          <p:nvPr/>
        </p:nvGraphicFramePr>
        <p:xfrm>
          <a:off x="336000" y="1476880"/>
          <a:ext cx="5532226" cy="4055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1" r:qs="rId5" r:cs="rId4"/>
          </a:graphicData>
        </a:graphic>
      </p:graphicFrame>
      <p:graphicFrame>
        <p:nvGraphicFramePr>
          <p:cNvPr id="4194308" name="Схема 17"/>
          <p:cNvGraphicFramePr>
            <a:graphicFrameLocks/>
          </p:cNvGraphicFramePr>
          <p:nvPr/>
        </p:nvGraphicFramePr>
        <p:xfrm>
          <a:off x="6897698" y="1698459"/>
          <a:ext cx="5038792" cy="40397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6" r:qs="rId10" r:cs="rId9"/>
          </a:graphicData>
        </a:graphic>
      </p:graphicFrame>
      <p:cxnSp>
        <p:nvCxnSpPr>
          <p:cNvPr id="3145729" name="Прямая соединительная линия 4"/>
          <p:cNvCxnSpPr>
            <a:cxnSpLocks/>
          </p:cNvCxnSpPr>
          <p:nvPr/>
        </p:nvCxnSpPr>
        <p:spPr>
          <a:xfrm>
            <a:off x="5979024" y="1496544"/>
            <a:ext cx="827542" cy="1932456"/>
          </a:xfrm>
          <a:prstGeom prst="line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45730" name="Прямая соединительная линия 6"/>
          <p:cNvCxnSpPr>
            <a:cxnSpLocks/>
          </p:cNvCxnSpPr>
          <p:nvPr/>
        </p:nvCxnSpPr>
        <p:spPr>
          <a:xfrm flipH="1">
            <a:off x="5959358" y="3406395"/>
            <a:ext cx="847208" cy="2014212"/>
          </a:xfrm>
          <a:prstGeom prst="line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0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" imgH="595" imgW="592" progId="TCLayout.ActiveDocument.1">
                  <p:embed/>
                </p:oleObj>
              </mc:Choice>
              <mc:Fallback>
                <p:oleObj name="Слайд think-cell" r:id="rId2" imgH="595" imgW="592" progId="TCLayout.ActiveDocument.1">
                  <p:embed/>
                  <p:pic>
                    <p:nvPicPr>
                      <p:cNvPr id="2097162" name="Объект 1" hidden="1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13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defTabSz="1161825" hangingPunct="0" lvl="0">
              <a:lnSpc>
                <a:spcPct val="100000"/>
              </a:lnSpc>
              <a:buClrTx/>
              <a:buSzTx/>
            </a:pPr>
            <a:r>
              <a:rPr b="1" cap="all" dirty="0" sz="48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Суть проекта</a:t>
            </a:r>
            <a:endParaRPr b="1" cap="all" dirty="0" sz="480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2097163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4"/>
          <a:stretch>
            <a:fillRect/>
          </a:stretch>
        </p:blipFill>
        <p:spPr>
          <a:xfrm>
            <a:off x="9809776" y="424656"/>
            <a:ext cx="2046224" cy="780252"/>
          </a:xfrm>
          <a:prstGeom prst="rect"/>
          <a:ln w="12700">
            <a:miter lim="400000"/>
          </a:ln>
        </p:spPr>
      </p:pic>
      <p:pic>
        <p:nvPicPr>
          <p:cNvPr id="2097164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5"/>
          <a:stretch>
            <a:fillRect/>
          </a:stretch>
        </p:blipFill>
        <p:spPr>
          <a:xfrm>
            <a:off x="404999" y="6178409"/>
            <a:ext cx="3445106" cy="472390"/>
          </a:xfrm>
          <a:prstGeom prst="rect"/>
          <a:ln w="12700">
            <a:miter lim="400000"/>
          </a:ln>
        </p:spPr>
      </p:pic>
      <p:sp>
        <p:nvSpPr>
          <p:cNvPr id="1048614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/>
          <a:ln w="12700">
            <a:miter lim="400000"/>
          </a:ln>
        </p:spPr>
        <p:txBody>
          <a:bodyPr bIns="0" lIns="0" rIns="0" tIns="0" wrap="square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dirty="0" sz="160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dirty="0" sz="160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dirty="0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145731" name="Google Shape;117;p5"/>
          <p:cNvCxnSpPr>
            <a:cxnSpLocks/>
          </p:cNvCxnSpPr>
          <p:nvPr/>
        </p:nvCxnSpPr>
        <p:spPr>
          <a:xfrm rot="10800000" flipH="1">
            <a:off x="336000" y="1391675"/>
            <a:ext cx="11520000" cy="15900"/>
          </a:xfrm>
          <a:prstGeom prst="straightConnector1"/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48615" name="TextBox 11"/>
          <p:cNvSpPr txBox="1"/>
          <p:nvPr/>
        </p:nvSpPr>
        <p:spPr>
          <a:xfrm>
            <a:off x="336000" y="2544964"/>
            <a:ext cx="7182518" cy="3825240"/>
          </a:xfrm>
          <a:prstGeom prst="rect"/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rtlCol="0" wrap="square">
            <a:spAutoFit/>
          </a:bodyPr>
          <a:p>
            <a:pPr algn="l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</a:pPr>
            <a:r>
              <a:rPr baseline="0" b="1" cap="none" dirty="0" sz="2000" i="0" kern="0" kumimoji="0" lang="ru-RU" noProof="0" normalizeH="0" spc="0" strike="noStrike" u="none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Gilroy Light"/>
                <a:cs typeface="Arial"/>
                <a:sym typeface="Arial"/>
              </a:rPr>
              <a:t>Создание регионального ресурсного центра позволит:</a:t>
            </a:r>
          </a:p>
          <a:p>
            <a:pPr indent="-285750" marL="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увеличить охват 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лиц с инвалидностью, </a:t>
            </a:r>
            <a:r>
              <a:rPr b="1" dirty="0" sz="2000" lang="ru-RU" err="1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ОВЗ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,</a:t>
            </a: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 занимающегося адаптивными спортивными играми, 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в 3 раза к 2024 году</a:t>
            </a: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 (онлайн, оффлайн)</a:t>
            </a:r>
          </a:p>
          <a:p>
            <a:pPr indent="-285750" marL="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обеспечить 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тиражирование</a:t>
            </a: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 проекта в муниципальных районах края и других 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регионах России</a:t>
            </a:r>
          </a:p>
          <a:p>
            <a:pPr indent="-285750" marL="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подготовить  инструкторов-методистов, тренеров,</a:t>
            </a: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 тьюторов, ассистентов для проведения адаптивных спортивных игр</a:t>
            </a:r>
          </a:p>
          <a:p>
            <a:pPr indent="-285750" marL="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проводить </a:t>
            </a:r>
            <a:r>
              <a:rPr b="1"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интегрированные</a:t>
            </a: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</a:rPr>
              <a:t> адаптивные спортивные игры </a:t>
            </a:r>
          </a:p>
        </p:txBody>
      </p:sp>
      <p:sp>
        <p:nvSpPr>
          <p:cNvPr id="1048616" name="Прямоугольник 12"/>
          <p:cNvSpPr/>
          <p:nvPr/>
        </p:nvSpPr>
        <p:spPr>
          <a:xfrm>
            <a:off x="336000" y="1492542"/>
            <a:ext cx="11717455" cy="973797"/>
          </a:xfrm>
          <a:prstGeom prst="rect"/>
          <a:noFill/>
          <a:ln w="28575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 rtlCol="0"/>
          <a:p>
            <a:pPr algn="l" defTabSz="914400" eaLnBrk="1" fontAlgn="auto" hangingPunct="1" indent="0" latinLnBrk="0" lvl="0" marL="0" marR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</a:pPr>
            <a:r>
              <a:rPr baseline="0" b="1" cap="all" dirty="0" sz="2000" i="0" kern="0" kumimoji="0" lang="ru-RU" noProof="0" normalizeH="0" spc="0" strike="noStrike" u="none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Gilroy Light"/>
                <a:ea typeface="+mn-ea"/>
                <a:cs typeface="Times New Roman" panose="02020603050405020304" pitchFamily="18" charset="0"/>
                <a:sym typeface="Arial"/>
              </a:rPr>
              <a:t>Цель проекта </a:t>
            </a:r>
          </a:p>
          <a:p>
            <a:pPr algn="just">
              <a:spcAft>
                <a:spcPts val="1200"/>
              </a:spcAft>
            </a:pPr>
            <a:r>
              <a:rPr dirty="0" sz="2000" lang="ru-RU">
                <a:solidFill>
                  <a:schemeClr val="accent1">
                    <a:lumMod val="50000"/>
                  </a:schemeClr>
                </a:solidFill>
                <a:latin typeface="Gilroy Light"/>
                <a:cs typeface="Times New Roman" panose="02020603050405020304" pitchFamily="18" charset="0"/>
              </a:rPr>
              <a:t>Содействие физическому и духовному развитию населения всех возрастов с ограниченными возможностями посредством вовлечения в массовые занятия адаптивным спортом</a:t>
            </a:r>
          </a:p>
        </p:txBody>
      </p:sp>
      <p:sp>
        <p:nvSpPr>
          <p:cNvPr id="1048617" name="TextBox 17"/>
          <p:cNvSpPr txBox="1"/>
          <p:nvPr/>
        </p:nvSpPr>
        <p:spPr>
          <a:xfrm>
            <a:off x="8991911" y="2588827"/>
            <a:ext cx="1328322" cy="624840"/>
          </a:xfrm>
          <a:prstGeom prst="rect"/>
          <a:noFill/>
        </p:spPr>
        <p:txBody>
          <a:bodyPr wrap="square">
            <a:spAutoFit/>
          </a:bodyPr>
          <a:p>
            <a:pPr>
              <a:spcAft>
                <a:spcPts val="600"/>
              </a:spcAft>
              <a:buClrTx/>
            </a:pPr>
            <a:r>
              <a:rPr b="1" dirty="0" sz="1800" lang="ru-RU">
                <a:solidFill>
                  <a:schemeClr val="accent2">
                    <a:lumMod val="75000"/>
                  </a:schemeClr>
                </a:solidFill>
                <a:latin typeface="Gilroy Light"/>
              </a:rPr>
              <a:t>ВИДЫ ИГР:</a:t>
            </a:r>
            <a:endParaRPr b="1" dirty="0" sz="1800" lang="ru-RU">
              <a:solidFill>
                <a:schemeClr val="accent1">
                  <a:lumMod val="50000"/>
                </a:schemeClr>
              </a:solidFill>
              <a:latin typeface="Gilroy Light"/>
            </a:endParaRPr>
          </a:p>
        </p:txBody>
      </p:sp>
      <p:graphicFrame>
        <p:nvGraphicFramePr>
          <p:cNvPr id="4194311" name="Таблица 3"/>
          <p:cNvGraphicFramePr>
            <a:graphicFrameLocks noGrp="1"/>
          </p:cNvGraphicFramePr>
          <p:nvPr/>
        </p:nvGraphicFramePr>
        <p:xfrm>
          <a:off x="7624677" y="2951445"/>
          <a:ext cx="4062790" cy="3597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1395"/>
                <a:gridCol w="2031395"/>
              </a:tblGrid>
              <a:tr h="343871"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шоудаун</a:t>
                      </a:r>
                      <a:endParaRPr b="1" dirty="0" sz="1800" lang="ru-RU">
                        <a:solidFill>
                          <a:schemeClr val="accent2">
                            <a:lumMod val="75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шаффлборд</a:t>
                      </a:r>
                      <a:endParaRPr b="1" dirty="0" sz="18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616252">
                <a:tc>
                  <a:txBody>
                    <a:bodyPr/>
                    <a:p>
                      <a:pPr algn="ctr">
                        <a:buClrTx/>
                        <a:buFont typeface="Wingdings" panose="05000000000000000000" pitchFamily="2" charset="2"/>
                        <a:buNone/>
                      </a:pP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голбол</a:t>
                      </a:r>
                      <a:endParaRPr b="1" dirty="0" sz="18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  <a:p>
                      <a:pPr algn="ctr">
                        <a:spcAft>
                          <a:spcPts val="600"/>
                        </a:spcAft>
                        <a:buClrTx/>
                        <a:buFont typeface="Wingdings" panose="05000000000000000000" pitchFamily="2" charset="2"/>
                        <a:buNone/>
                      </a:pPr>
                      <a:r>
                        <a:rPr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для слепых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кульбутто</a:t>
                      </a:r>
                      <a:endParaRPr b="1" dirty="0" sz="1800" lang="ru-RU">
                        <a:solidFill>
                          <a:schemeClr val="accent2">
                            <a:lumMod val="75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343871"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эластик</a:t>
                      </a:r>
                      <a:endParaRPr b="1" dirty="0" sz="18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джакколо</a:t>
                      </a:r>
                      <a:endParaRPr b="1" dirty="0" sz="18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343871"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корнхол</a:t>
                      </a:r>
                      <a:endParaRPr dirty="0" sz="1800" kern="12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матрешка</a:t>
                      </a:r>
                      <a:endParaRPr dirty="0" sz="1800" kern="1200" lang="ru-RU">
                        <a:solidFill>
                          <a:schemeClr val="accent2">
                            <a:lumMod val="75000"/>
                          </a:schemeClr>
                        </a:solidFill>
                        <a:latin typeface="Gilroy Ligh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616252">
                <a:tc>
                  <a:txBody>
                    <a:bodyPr/>
                    <a:p>
                      <a:pPr algn="ctr">
                        <a:buClrTx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настольный </a:t>
                      </a:r>
                    </a:p>
                    <a:p>
                      <a:pPr algn="ctr">
                        <a:spcAft>
                          <a:spcPts val="600"/>
                        </a:spcAft>
                        <a:buClrTx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керлинг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бочча</a:t>
                      </a:r>
                      <a:r>
                        <a:rPr b="1"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 </a:t>
                      </a:r>
                      <a:r>
                        <a:rPr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для слепых</a:t>
                      </a:r>
                      <a:endParaRPr dirty="0" sz="1800" kern="12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691913"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баскет-</a:t>
                      </a:r>
                      <a:r>
                        <a:rPr b="1" dirty="0" sz="1800" lang="ru-RU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понг</a:t>
                      </a:r>
                      <a:endParaRPr b="1" dirty="0" sz="18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>
                        <a:spcAft>
                          <a:spcPts val="600"/>
                        </a:spcAft>
                        <a:buClrTx/>
                        <a:buFont typeface="Wingdings" panose="05000000000000000000" pitchFamily="2" charset="2"/>
                        <a:buNone/>
                      </a:pPr>
                      <a:r>
                        <a:rPr b="1" dirty="0" sz="1800" lang="ru-RU" err="1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бочча</a:t>
                      </a:r>
                      <a:r>
                        <a:rPr b="1"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 </a:t>
                      </a:r>
                      <a:r>
                        <a:rPr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для лиц с </a:t>
                      </a:r>
                    </a:p>
                    <a:p>
                      <a:pPr algn="ctr">
                        <a:spcAft>
                          <a:spcPts val="600"/>
                        </a:spcAft>
                        <a:buClrTx/>
                        <a:buFont typeface="Wingdings" panose="05000000000000000000" pitchFamily="2" charset="2"/>
                        <a:buNone/>
                      </a:pPr>
                      <a:r>
                        <a:rPr dirty="0" sz="1800" lang="ru-RU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Gilroy Light"/>
                        </a:rPr>
                        <a:t>поражением ОДА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  <a:tr h="427970"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настольный боулинг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  <a:tc>
                  <a:txBody>
                    <a:bodyPr/>
                    <a:p>
                      <a:pPr algn="ctr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b="1" dirty="0" sz="1800" lang="ru-RU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Gilroy Light"/>
                        </a:rPr>
                        <a:t>эластик стрела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4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2" name="Объект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2" imgH="595" imgW="592" progId="TCLayout.ActiveDocument.1">
                  <p:embed/>
                </p:oleObj>
              </mc:Choice>
              <mc:Fallback>
                <p:oleObj name="Слайд think-cell" r:id="rId12" imgH="595" imgW="592" progId="TCLayout.ActiveDocument.1">
                  <p:embed/>
                  <p:pic>
                    <p:nvPicPr>
                      <p:cNvPr id="2097165" name="Объект 1" hidden="1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20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defTabSz="1161825" hangingPunct="0" lvl="0">
              <a:lnSpc>
                <a:spcPct val="100000"/>
              </a:lnSpc>
              <a:buClrTx/>
              <a:buSzTx/>
            </a:pPr>
            <a:r>
              <a:rPr b="1" cap="all" dirty="0" sz="48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Текущая стадия и ПЛАН</a:t>
            </a:r>
            <a:endParaRPr b="1" cap="all" dirty="0" sz="480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048621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59996"/>
            <a:ext cx="10515600" cy="4351200"/>
          </a:xfrm>
          <a:prstGeom prst="rect"/>
          <a:noFill/>
          <a:ln>
            <a:noFill/>
          </a:ln>
        </p:spPr>
        <p:txBody>
          <a:bodyPr anchor="t" anchorCtr="0" bIns="45700" lIns="91425" rIns="91425" spcFirstLastPara="1" tIns="45700" wrap="square">
            <a:normAutofit/>
          </a:bodyPr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dirty="0" sz="200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algn="l" indent="0" lvl="0" mar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dirty="0" sz="2000">
              <a:solidFill>
                <a:srgbClr val="434343"/>
              </a:solidFill>
            </a:endParaRPr>
          </a:p>
        </p:txBody>
      </p:sp>
      <p:pic>
        <p:nvPicPr>
          <p:cNvPr id="2097166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14"/>
          <a:stretch>
            <a:fillRect/>
          </a:stretch>
        </p:blipFill>
        <p:spPr>
          <a:xfrm>
            <a:off x="9809776" y="424656"/>
            <a:ext cx="2046224" cy="780252"/>
          </a:xfrm>
          <a:prstGeom prst="rect"/>
          <a:ln w="12700">
            <a:miter lim="400000"/>
          </a:ln>
        </p:spPr>
      </p:pic>
      <p:pic>
        <p:nvPicPr>
          <p:cNvPr id="2097167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15"/>
          <a:stretch>
            <a:fillRect/>
          </a:stretch>
        </p:blipFill>
        <p:spPr>
          <a:xfrm>
            <a:off x="404999" y="6178409"/>
            <a:ext cx="3445106" cy="472390"/>
          </a:xfrm>
          <a:prstGeom prst="rect"/>
          <a:ln w="12700">
            <a:miter lim="400000"/>
          </a:ln>
        </p:spPr>
      </p:pic>
      <p:sp>
        <p:nvSpPr>
          <p:cNvPr id="1048622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/>
          <a:ln w="12700">
            <a:miter lim="400000"/>
          </a:ln>
        </p:spPr>
        <p:txBody>
          <a:bodyPr bIns="0" lIns="0" rIns="0" tIns="0" wrap="square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dirty="0" sz="160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dirty="0" sz="160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dirty="0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145732" name="Google Shape;117;p5"/>
          <p:cNvCxnSpPr>
            <a:cxnSpLocks/>
          </p:cNvCxnSpPr>
          <p:nvPr/>
        </p:nvCxnSpPr>
        <p:spPr>
          <a:xfrm rot="10800000" flipH="1">
            <a:off x="336000" y="1391675"/>
            <a:ext cx="11520000" cy="15900"/>
          </a:xfrm>
          <a:prstGeom prst="straightConnector1"/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4194313" name="Таблица 14"/>
          <p:cNvGraphicFramePr>
            <a:graphicFrameLocks noGrp="1"/>
          </p:cNvGraphicFramePr>
          <p:nvPr/>
        </p:nvGraphicFramePr>
        <p:xfrm>
          <a:off x="209151" y="1472010"/>
          <a:ext cx="11773698" cy="1600200"/>
        </p:xfrm>
        <a:graphic>
          <a:graphicData uri="http://schemas.openxmlformats.org/drawingml/2006/table">
            <a:tbl>
              <a:tblPr firstRow="1" bandRow="1"/>
              <a:tblGrid>
                <a:gridCol w="3924566"/>
                <a:gridCol w="3924566"/>
                <a:gridCol w="3924566"/>
              </a:tblGrid>
              <a:tr h="1472919">
                <a:tc>
                  <a:txBody>
                    <a:bodyPr/>
                    <a:lstStyle>
                      <a:lvl1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defTabSz="914400" eaLnBrk="1" fontAlgn="auto" hangingPunct="1" indent="0" latinLnBrk="0" lvl="0" marL="0" marR="0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Обучено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Gilroy Light"/>
                        </a:rPr>
                        <a:t> с 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Gilroy Light"/>
                          <a:cs typeface="Gilroy Light"/>
                          <a:sym typeface="Gilroy Light"/>
                        </a:rPr>
                        <a:t>2017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Gilroy Light"/>
                          <a:cs typeface="Gilroy Light"/>
                          <a:sym typeface="Gilroy Light"/>
                        </a:rPr>
                        <a:t> года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 :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инструкторов-методистов – 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82 чел.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судей первой</a:t>
                      </a:r>
                      <a:r>
                        <a:rPr baseline="0" b="0" cap="none" dirty="0" sz="1800" i="0" kern="0" kumimoji="0" lang="en-US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категории – 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1 чел.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судей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третьей категории – 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3 чел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.</a:t>
                      </a:r>
                      <a:endParaRPr b="1" dirty="0" sz="1600" lang="ru-RU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ysClr lastClr="FFFFFF" val="window"/>
                    </a:solidFill>
                  </a:tcPr>
                </a:tc>
                <a:tc>
                  <a:txBody>
                    <a:bodyPr/>
                    <a:p>
                      <a:pPr algn="l" defTabSz="914400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Проведено в 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ED7D31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2021 и 2022 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годах: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Фестивалей - 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2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Чемпионатов - 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6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Турниров – 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2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ysClr lastClr="FFFFFF" val="window"/>
                    </a:solidFill>
                  </a:tcPr>
                </a:tc>
                <a:tc>
                  <a:txBody>
                    <a:bodyPr/>
                    <a:p>
                      <a:pPr algn="l" defTabSz="914400" eaLnBrk="1" fontAlgn="auto" hangingPunct="1" indent="0" latinLnBrk="0" lvl="0" marL="0" marR="0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Результативность: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6 </a:t>
                      </a: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финалистов</a:t>
                      </a: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 </a:t>
                      </a: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Чемпионатов РФ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12</a:t>
                      </a: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 чемпионов Забайкальского края</a:t>
                      </a:r>
                    </a:p>
                    <a:p>
                      <a:pPr algn="l" defTabSz="914400" eaLnBrk="1" fontAlgn="auto" hangingPunct="1" indent="-285750" latinLnBrk="0" lvl="0" marL="28575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1</a:t>
                      </a:r>
                      <a:r>
                        <a:rPr baseline="0" b="0" cap="none" dirty="0" sz="1800" i="0" kern="120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Arial"/>
                          <a:sym typeface="Arial"/>
                        </a:rPr>
                        <a:t> межрегиональный мастер-класс (Алтайский край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  <a:headEnd type="none" w="med" len="med"/>
                      <a:tailEnd type="none" w="med" len="med"/>
                    </a:lnBlToTr>
                    <a:solidFill>
                      <a:sysClr lastClr="FFFFFF" val="window"/>
                    </a:solidFill>
                  </a:tcPr>
                </a:tc>
              </a:tr>
            </a:tbl>
          </a:graphicData>
        </a:graphic>
      </p:graphicFrame>
      <p:sp>
        <p:nvSpPr>
          <p:cNvPr id="1048623" name="Заголовок 1"/>
          <p:cNvSpPr txBox="1"/>
          <p:nvPr/>
        </p:nvSpPr>
        <p:spPr>
          <a:xfrm>
            <a:off x="82303" y="3097335"/>
            <a:ext cx="11457364" cy="361771"/>
          </a:xfrm>
          <a:prstGeom prst="rect"/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>
            <a:noAutofit/>
          </a:bodyPr>
          <a:lstStyle>
            <a:lvl1pPr algn="l" defTabSz="9144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eaLnBrk="1" fontAlgn="auto" hangingPunct="1" indent="0" latinLnBrk="0" lvl="0" marL="0" marR="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dirty="0" sz="2000" lang="ru-RU">
                <a:solidFill>
                  <a:schemeClr val="accent1">
                    <a:lumMod val="75000"/>
                  </a:schemeClr>
                </a:solidFill>
                <a:latin typeface="Gilroy Light"/>
              </a:rPr>
              <a:t>Приняло участие</a:t>
            </a:r>
            <a:r>
              <a:rPr baseline="0" b="0" cap="none" dirty="0" sz="2000" i="0" kern="1200" kumimoji="0" lang="ru-RU" noProof="0" normalizeH="0" spc="0" strike="noStrike" u="none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Gilroy Light"/>
              </a:rPr>
              <a:t> </a:t>
            </a:r>
            <a:r>
              <a:rPr baseline="0" b="1" cap="none" dirty="0" sz="2000" i="0" kern="1200" kumimoji="0" lang="ru-RU" noProof="0" normalizeH="0" spc="0" strike="noStrike" u="none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Gilroy Light"/>
              </a:rPr>
              <a:t>2881 чел.</a:t>
            </a:r>
            <a:r>
              <a:rPr baseline="0" b="0" cap="none" dirty="0" sz="2000" i="0" kern="1200" kumimoji="0" lang="ru-RU" noProof="0" normalizeH="0" spc="0" strike="noStrike" u="none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Gilroy Light"/>
              </a:rPr>
              <a:t>, в т.ч. </a:t>
            </a:r>
            <a:r>
              <a:rPr baseline="0" b="1" cap="none" dirty="0" sz="2000" i="0" kern="1200" kumimoji="0" lang="ru-RU" noProof="0" normalizeH="0" spc="0" strike="noStrike" u="none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Gilroy Light"/>
              </a:rPr>
              <a:t>344</a:t>
            </a:r>
            <a:r>
              <a:rPr baseline="0" b="0" cap="none" dirty="0" sz="2000" i="0" kern="1200" kumimoji="0" lang="ru-RU" noProof="0" normalizeH="0" spc="0" strike="noStrike" u="none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Gilroy Light"/>
              </a:rPr>
              <a:t> ребенка</a:t>
            </a:r>
            <a:endParaRPr baseline="0" b="0" cap="none" dirty="0" sz="2000" i="0" kern="1200" kumimoji="0" lang="ru-RU" noProof="0" normalizeH="0" spc="0" strike="noStrike" u="none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Gilroy Light"/>
              <a:cs typeface="Times New Roman" panose="02020603050405020304" pitchFamily="18" charset="0"/>
            </a:endParaRPr>
          </a:p>
        </p:txBody>
      </p:sp>
      <p:sp>
        <p:nvSpPr>
          <p:cNvPr id="1048624" name="TextBox 11"/>
          <p:cNvSpPr txBox="1"/>
          <p:nvPr/>
        </p:nvSpPr>
        <p:spPr>
          <a:xfrm>
            <a:off x="336000" y="1053325"/>
            <a:ext cx="9417600" cy="369332"/>
          </a:xfrm>
          <a:prstGeom prst="rect"/>
          <a:noFill/>
        </p:spPr>
        <p:txBody>
          <a:bodyPr rtlCol="0" wrap="square">
            <a:spAutoFit/>
          </a:bodyPr>
          <a:p>
            <a:r>
              <a:rPr dirty="0" sz="1800" lang="ru-RU">
                <a:latin typeface="Gilroy Light"/>
                <a:ea typeface="Gilroy Light"/>
                <a:cs typeface="Gilroy Light"/>
                <a:sym typeface="Gilroy Light"/>
              </a:rPr>
              <a:t> </a:t>
            </a:r>
          </a:p>
        </p:txBody>
      </p:sp>
      <p:graphicFrame>
        <p:nvGraphicFramePr>
          <p:cNvPr id="4194314" name="Схема 3"/>
          <p:cNvGraphicFramePr>
            <a:graphicFrameLocks/>
          </p:cNvGraphicFramePr>
          <p:nvPr/>
        </p:nvGraphicFramePr>
        <p:xfrm>
          <a:off x="336000" y="3990443"/>
          <a:ext cx="11311210" cy="10698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1" r:qs="rId5" r:cs="rId4"/>
          </a:graphicData>
        </a:graphic>
      </p:graphicFrame>
      <p:sp>
        <p:nvSpPr>
          <p:cNvPr id="1048625" name="Заголовок 1"/>
          <p:cNvSpPr txBox="1"/>
          <p:nvPr/>
        </p:nvSpPr>
        <p:spPr>
          <a:xfrm>
            <a:off x="0" y="3531943"/>
            <a:ext cx="11457364" cy="361771"/>
          </a:xfrm>
          <a:prstGeom prst="rect"/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>
            <a:noAutofit/>
          </a:bodyPr>
          <a:lstStyle>
            <a:lvl1pPr algn="l" defTabSz="9144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eaLnBrk="1" fontAlgn="auto" hangingPunct="1" indent="0" latinLnBrk="0" lvl="0" marL="0" marR="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b="1" dirty="0" sz="1800" lang="ru-RU">
                <a:solidFill>
                  <a:schemeClr val="accent2">
                    <a:lumMod val="75000"/>
                  </a:schemeClr>
                </a:solidFill>
                <a:latin typeface="Gilroy Light"/>
              </a:rPr>
              <a:t>ОСНОВНЫЕ ЭТАПЫ РЕАЛИЗАЦИИ ПРОЕКТА </a:t>
            </a:r>
            <a:endParaRPr baseline="0" b="1" cap="none" dirty="0" sz="1800" i="0" kern="1200" kumimoji="0" lang="ru-RU" noProof="0" normalizeH="0" spc="0" strike="noStrike" u="none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Gilroy Light"/>
              <a:cs typeface="Times New Roman" panose="02020603050405020304" pitchFamily="18" charset="0"/>
            </a:endParaRPr>
          </a:p>
        </p:txBody>
      </p:sp>
      <p:graphicFrame>
        <p:nvGraphicFramePr>
          <p:cNvPr id="4194315" name="Схема 2"/>
          <p:cNvGraphicFramePr>
            <a:graphicFrameLocks/>
          </p:cNvGraphicFramePr>
          <p:nvPr/>
        </p:nvGraphicFramePr>
        <p:xfrm>
          <a:off x="1815888" y="5223005"/>
          <a:ext cx="7540548" cy="633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6" r:qs="rId10" r:cs="rId9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47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6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" imgH="595" imgW="592" progId="TCLayout.ActiveDocument.1">
                  <p:embed/>
                </p:oleObj>
              </mc:Choice>
              <mc:Fallback>
                <p:oleObj name="Слайд think-cell" r:id="rId2" imgH="595" imgW="592" progId="TCLayout.ActiveDocument.1">
                  <p:embed/>
                  <p:pic>
                    <p:nvPicPr>
                      <p:cNvPr id="2097168" name="Объект 1" hidden="1"/>
                      <p:cNvPicPr>
                        <a:picLocks/>
                      </p:cNvPicPr>
                      <p:nvPr/>
                    </p:nvPicPr>
                    <p:blipFill>
                      <a:blip xmlns:r="http://schemas.openxmlformats.org/officeDocument/2006/relationships"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2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/>
          <a:noFill/>
          <a:ln>
            <a:noFill/>
          </a:ln>
        </p:spPr>
        <p:txBody>
          <a:bodyPr anchor="b" anchorCtr="0" bIns="45700" lIns="91425" rIns="91425" spcFirstLastPara="1" tIns="45700" wrap="square">
            <a:noAutofit/>
          </a:bodyPr>
          <a:p>
            <a:pPr defTabSz="1161825" hangingPunct="0" lvl="0">
              <a:lnSpc>
                <a:spcPct val="100000"/>
              </a:lnSpc>
              <a:buClrTx/>
              <a:buSzTx/>
            </a:pPr>
            <a:r>
              <a:rPr b="1" cap="all" dirty="0" sz="4800" lang="ru-RU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ЗАПРОС НА ПОДДЕРЖКУ</a:t>
            </a:r>
            <a:endParaRPr b="1" cap="all" dirty="0" sz="480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pic>
        <p:nvPicPr>
          <p:cNvPr id="2097169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4"/>
          <a:stretch>
            <a:fillRect/>
          </a:stretch>
        </p:blipFill>
        <p:spPr>
          <a:xfrm>
            <a:off x="9809776" y="424656"/>
            <a:ext cx="2046224" cy="780252"/>
          </a:xfrm>
          <a:prstGeom prst="rect"/>
          <a:ln w="12700">
            <a:miter lim="400000"/>
          </a:ln>
        </p:spPr>
      </p:pic>
      <p:pic>
        <p:nvPicPr>
          <p:cNvPr id="2097170" name="Изображение" descr="Изображение"/>
          <p:cNvPicPr>
            <a:picLocks noChangeAspect="1"/>
          </p:cNvPicPr>
          <p:nvPr/>
        </p:nvPicPr>
        <p:blipFill>
          <a:blip xmlns:r="http://schemas.openxmlformats.org/officeDocument/2006/relationships" r:embed="rId5"/>
          <a:stretch>
            <a:fillRect/>
          </a:stretch>
        </p:blipFill>
        <p:spPr>
          <a:xfrm>
            <a:off x="404999" y="6178409"/>
            <a:ext cx="3445106" cy="472390"/>
          </a:xfrm>
          <a:prstGeom prst="rect"/>
          <a:ln w="12700">
            <a:miter lim="400000"/>
          </a:ln>
        </p:spPr>
      </p:pic>
      <p:sp>
        <p:nvSpPr>
          <p:cNvPr id="1048629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/>
          <a:ln w="12700">
            <a:miter lim="400000"/>
          </a:ln>
        </p:spPr>
        <p:txBody>
          <a:bodyPr bIns="0" lIns="0" rIns="0" tIns="0" wrap="square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dirty="0" sz="160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dirty="0" sz="160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dirty="0" sz="160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145733" name="Google Shape;117;p5"/>
          <p:cNvCxnSpPr>
            <a:cxnSpLocks/>
          </p:cNvCxnSpPr>
          <p:nvPr/>
        </p:nvCxnSpPr>
        <p:spPr>
          <a:xfrm rot="10800000" flipH="1">
            <a:off x="336000" y="1391675"/>
            <a:ext cx="11520000" cy="15900"/>
          </a:xfrm>
          <a:prstGeom prst="straightConnector1"/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4194317" name="Таблица 11"/>
          <p:cNvGraphicFramePr>
            <a:graphicFrameLocks noGrp="1"/>
          </p:cNvGraphicFramePr>
          <p:nvPr/>
        </p:nvGraphicFramePr>
        <p:xfrm>
          <a:off x="336000" y="1590210"/>
          <a:ext cx="3514105" cy="4041775"/>
        </p:xfrm>
        <a:graphic>
          <a:graphicData uri="http://schemas.openxmlformats.org/drawingml/2006/table">
            <a:tbl>
              <a:tblPr firstRow="1" bandRow="1"/>
              <a:tblGrid>
                <a:gridCol w="3514105"/>
              </a:tblGrid>
              <a:tr h="441334">
                <a:tc>
                  <a:txBody>
                    <a:bodyPr/>
                    <a:lstStyle>
                      <a:lvl1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1" cap="none" sz="1400" i="0" strike="noStrike" u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dirty="0" sz="2000" lang="ru-RU">
                          <a:latin typeface="Gilroy Light"/>
                          <a:cs typeface="Times New Roman" panose="02020603050405020304" pitchFamily="18" charset="0"/>
                        </a:rPr>
                        <a:t>НЕОБХОДИМЫЕ</a:t>
                      </a:r>
                      <a:r>
                        <a:rPr baseline="0" dirty="0" sz="2000" lang="ru-RU">
                          <a:latin typeface="Gilroy Light"/>
                          <a:cs typeface="Times New Roman" panose="02020603050405020304" pitchFamily="18" charset="0"/>
                        </a:rPr>
                        <a:t> РЕСУРСЫ </a:t>
                      </a:r>
                    </a:p>
                    <a:p>
                      <a:pPr algn="ctr"/>
                      <a:r>
                        <a:rPr baseline="0" dirty="0" sz="2000" lang="ru-RU">
                          <a:latin typeface="Gilroy Light"/>
                          <a:cs typeface="Times New Roman" panose="02020603050405020304" pitchFamily="18" charset="0"/>
                        </a:rPr>
                        <a:t>для запуска проекта</a:t>
                      </a:r>
                      <a:endParaRPr dirty="0" sz="2000" lang="ru-RU">
                        <a:latin typeface="Gilroy Light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ysClr lastClr="FFFFFF" val="window"/>
                      </a:solidFill>
                    </a:lnL>
                    <a:lnR w="12700" cmpd="sng">
                      <a:solidFill>
                        <a:sysClr lastClr="FFFFFF" val="window"/>
                      </a:solidFill>
                    </a:lnR>
                    <a:lnT w="12700" cmpd="sng">
                      <a:solidFill>
                        <a:sysClr lastClr="FFFFFF" val="window"/>
                      </a:solidFill>
                    </a:lnT>
                    <a:lnB w="38100" cmpd="sng">
                      <a:solidFill>
                        <a:sysClr lastClr="FFFFFF" val="window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</a:tr>
              <a:tr h="1829375">
                <a:tc>
                  <a:txBody>
                    <a:bodyPr/>
                    <a:lstStyle>
                      <a:lvl1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algn="l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b="0" cap="none" sz="1400" i="0" strike="noStrike" u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defTabSz="914400" eaLnBrk="1" fontAlgn="auto" hangingPunct="1" indent="-342900" latinLnBrk="0" lvl="0" marL="342900" marR="0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Техническое оснащение</a:t>
                      </a:r>
                      <a:b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</a:b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450 тыс. руб</a:t>
                      </a: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.</a:t>
                      </a:r>
                    </a:p>
                    <a:p>
                      <a:pPr algn="l" defTabSz="914400" eaLnBrk="1" fontAlgn="auto" hangingPunct="1" indent="-342900" latinLnBrk="0" lvl="0" marL="342900" marR="0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Спортивный инвентарь</a:t>
                      </a:r>
                      <a:b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</a:b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050 тыс. руб</a:t>
                      </a: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.</a:t>
                      </a:r>
                    </a:p>
                    <a:p>
                      <a:pPr algn="l" defTabSz="914400" eaLnBrk="1" fontAlgn="auto" hangingPunct="1" indent="-342900" latinLnBrk="0" lvl="0" marL="342900" marR="0" rtl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бучение </a:t>
                      </a: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инструкторов-методистов, тренеров, </a:t>
                      </a:r>
                      <a: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тьюторов, ассистентов</a:t>
                      </a:r>
                      <a:br>
                        <a:rPr baseline="0" b="0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</a:br>
                      <a:r>
                        <a:rPr baseline="0" b="1" cap="none" dirty="0" sz="18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250 тыс. руб.</a:t>
                      </a:r>
                    </a:p>
                  </a:txBody>
                  <a:tcPr>
                    <a:lnL w="12700" cmpd="sng">
                      <a:solidFill>
                        <a:sysClr lastClr="FFFFFF" val="window"/>
                      </a:solidFill>
                    </a:lnL>
                    <a:lnR w="12700" cmpd="sng">
                      <a:solidFill>
                        <a:sysClr lastClr="FFFFFF" val="window"/>
                      </a:solidFill>
                    </a:lnR>
                    <a:lnT w="38100" cmpd="sng">
                      <a:solidFill>
                        <a:sysClr lastClr="FFFFFF" val="window"/>
                      </a:solidFill>
                    </a:lnT>
                    <a:lnB w="12700" cmpd="sng">
                      <a:solidFill>
                        <a:sysClr lastClr="FFFFFF" val="window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194318" name="Таблица 12"/>
          <p:cNvGraphicFramePr>
            <a:graphicFrameLocks noGrp="1"/>
          </p:cNvGraphicFramePr>
          <p:nvPr/>
        </p:nvGraphicFramePr>
        <p:xfrm>
          <a:off x="3962400" y="1610058"/>
          <a:ext cx="8017163" cy="45356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17163"/>
              </a:tblGrid>
              <a:tr h="673248">
                <a:tc>
                  <a:txBody>
                    <a:bodyPr/>
                    <a:p>
                      <a:pPr algn="ctr"/>
                      <a:r>
                        <a:rPr dirty="0" sz="2000" lang="ru-RU">
                          <a:latin typeface="Gilroy Light"/>
                          <a:cs typeface="Times New Roman" panose="02020603050405020304" pitchFamily="18" charset="0"/>
                        </a:rPr>
                        <a:t>НЕОБХОДИМАЯ федеральная </a:t>
                      </a:r>
                    </a:p>
                    <a:p>
                      <a:pPr algn="ctr"/>
                      <a:r>
                        <a:rPr dirty="0" sz="2000" lang="ru-RU">
                          <a:latin typeface="Gilroy Light"/>
                          <a:cs typeface="Times New Roman" panose="02020603050405020304" pitchFamily="18" charset="0"/>
                        </a:rPr>
                        <a:t>ПОДДЕРЖКА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</a:tr>
              <a:tr h="3834589">
                <a:tc>
                  <a:txBody>
                    <a:bodyPr/>
                    <a:p>
                      <a:pPr algn="just" defTabSz="914400" eaLnBrk="1" fontAlgn="auto" hangingPunct="1" indent="-342900" latinLnBrk="0" lvl="0" marL="342900" marR="0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2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Грантовая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и финансовая поддержка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проекта, практической реализации идеи</a:t>
                      </a:r>
                    </a:p>
                    <a:p>
                      <a:pPr algn="just" defTabSz="914400" eaLnBrk="1" fontAlgn="auto" hangingPunct="1" indent="-342900" latinLnBrk="0" lvl="0" marL="34290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ключение в </a:t>
                      </a: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бщероссийский реестр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идов игр </a:t>
                      </a:r>
                      <a:r>
                        <a:rPr baseline="0" b="0" cap="none" dirty="0" sz="1700" i="0" kern="0" kumimoji="0" lang="ru-RU" noProof="0" normalizeH="0" spc="0" err="1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ФНСИР</a:t>
                      </a: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(отв. - Минспорта РФ)</a:t>
                      </a:r>
                    </a:p>
                    <a:p>
                      <a:pPr algn="just" defTabSz="914400" eaLnBrk="1" fontAlgn="auto" hangingPunct="1" indent="-342900" latinLnBrk="0" lvl="0" marL="34290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Методические рекомендации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по внедрению адаптивных спортивных  игр в образовательный процесс организаций дошкольного, общего, профессионального образования (отв. - </a:t>
                      </a:r>
                      <a:r>
                        <a:rPr baseline="0" b="0" cap="none" dirty="0" sz="1700" i="0" kern="0" kumimoji="0" lang="ru-RU" noProof="0" normalizeH="0" spc="0" err="1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Минпровещения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РФ)</a:t>
                      </a:r>
                    </a:p>
                    <a:p>
                      <a:pPr algn="just" defTabSz="914400" eaLnBrk="1" fontAlgn="auto" hangingPunct="1" indent="-342900" latinLnBrk="0" lvl="0" marL="34290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Методические рекомендации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по внедрению адаптивных спортивных  игр в организациях социального обслуживания населения (отв. - Минспорта РФ, Минтруда РФ)</a:t>
                      </a:r>
                    </a:p>
                    <a:p>
                      <a:pPr algn="just" defTabSz="914400" eaLnBrk="1" fontAlgn="auto" hangingPunct="1" indent="-342900" latinLnBrk="0" lvl="0" marL="34290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baseline="0" b="1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Информационная поддержка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при проведении межрегиональных и всероссийских соревнований по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+mn-cs"/>
                          <a:sym typeface="Arial"/>
                        </a:rPr>
                        <a:t>адаптивным спортивным играм </a:t>
                      </a:r>
                      <a:r>
                        <a:rPr baseline="0" b="0" cap="none" dirty="0" sz="1700" i="0" kern="0" kumimoji="0" lang="ru-RU" noProof="0" normalizeH="0" spc="0" strike="noStrike" u="none">
                          <a:ln>
                            <a:noFill/>
                          </a:ln>
                          <a:solidFill>
                            <a:srgbClr val="4472C4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Gilroy Light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(отв. - Минспорта РФ)</a:t>
                      </a:r>
                      <a:endParaRPr b="0" dirty="0" sz="1700" lang="ru-RU">
                        <a:solidFill>
                          <a:schemeClr val="accent1">
                            <a:lumMod val="50000"/>
                          </a:schemeClr>
                        </a:solidFill>
                        <a:latin typeface="Gilroy Light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r="5400000" dist="2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r="5400000" dist="23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dir="t" rig="threeP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>
  <Application>Microsoft Office PowerPoint</Application>
  <ScaleCrop>0</ScaleCrop>
  <LinksUpToDate>0</LinksUpToDate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>
  <dc:title>Название проекта</dc:title>
  <dc:creator>emz.metall@gmail.com</dc:creator>
  <cp:lastModifiedBy>user</cp:lastModifiedBy>
  <dcterms:created xsi:type="dcterms:W3CDTF">2019-02-20T01:21:15Z</dcterms:created>
  <dcterms:modified xsi:type="dcterms:W3CDTF">2022-07-18T11:47:25Z</dcterms:modified>
</cp:coreProperties>
</file>